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4"/>
    <p:sldMasterId id="2147483727" r:id="rId5"/>
    <p:sldMasterId id="2147483739" r:id="rId6"/>
    <p:sldMasterId id="2147483771" r:id="rId7"/>
    <p:sldMasterId id="2147483788" r:id="rId8"/>
  </p:sldMasterIdLst>
  <p:notesMasterIdLst>
    <p:notesMasterId r:id="rId29"/>
  </p:notesMasterIdLst>
  <p:handoutMasterIdLst>
    <p:handoutMasterId r:id="rId30"/>
  </p:handoutMasterIdLst>
  <p:sldIdLst>
    <p:sldId id="2147326978" r:id="rId9"/>
    <p:sldId id="2147474085" r:id="rId10"/>
    <p:sldId id="2147474084" r:id="rId11"/>
    <p:sldId id="2147474091" r:id="rId12"/>
    <p:sldId id="2147474088" r:id="rId13"/>
    <p:sldId id="2147474090" r:id="rId14"/>
    <p:sldId id="2147474094" r:id="rId15"/>
    <p:sldId id="2147474086" r:id="rId16"/>
    <p:sldId id="2147474079" r:id="rId17"/>
    <p:sldId id="2147474076" r:id="rId18"/>
    <p:sldId id="2147474077" r:id="rId19"/>
    <p:sldId id="2147474070" r:id="rId20"/>
    <p:sldId id="2147474071" r:id="rId21"/>
    <p:sldId id="2147474073" r:id="rId22"/>
    <p:sldId id="2147474069" r:id="rId23"/>
    <p:sldId id="2147474075" r:id="rId24"/>
    <p:sldId id="2147375660" r:id="rId25"/>
    <p:sldId id="2147474095" r:id="rId26"/>
    <p:sldId id="2147474080" r:id="rId27"/>
    <p:sldId id="542" r:id="rId28"/>
  </p:sldIdLst>
  <p:sldSz cx="11704638" cy="6583363"/>
  <p:notesSz cx="6797675" cy="9928225"/>
  <p:defaultTextStyle>
    <a:defPPr>
      <a:defRPr lang="en-US"/>
    </a:defPPr>
    <a:lvl1pPr marL="0" algn="l" defTabSz="11704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85216" algn="l" defTabSz="11704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70432" algn="l" defTabSz="11704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55648" algn="l" defTabSz="11704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40864" algn="l" defTabSz="11704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926080" algn="l" defTabSz="11704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511296" algn="l" defTabSz="11704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96512" algn="l" defTabSz="11704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81728" algn="l" defTabSz="11704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752FA4-D661-4FB3-AAF6-02994C9EE618}">
          <p14:sldIdLst>
            <p14:sldId id="2147326978"/>
            <p14:sldId id="2147474085"/>
            <p14:sldId id="2147474084"/>
            <p14:sldId id="2147474091"/>
            <p14:sldId id="2147474088"/>
            <p14:sldId id="2147474090"/>
            <p14:sldId id="2147474094"/>
            <p14:sldId id="2147474086"/>
            <p14:sldId id="2147474079"/>
            <p14:sldId id="2147474076"/>
            <p14:sldId id="2147474077"/>
            <p14:sldId id="2147474070"/>
            <p14:sldId id="2147474071"/>
            <p14:sldId id="2147474073"/>
            <p14:sldId id="2147474069"/>
            <p14:sldId id="2147474075"/>
            <p14:sldId id="2147375660"/>
            <p14:sldId id="2147474095"/>
            <p14:sldId id="2147474080"/>
            <p14:sldId id="542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3563">
          <p15:clr>
            <a:srgbClr val="A4A3A4"/>
          </p15:clr>
        </p15:guide>
        <p15:guide id="4" orient="horz" pos="801">
          <p15:clr>
            <a:srgbClr val="A4A3A4"/>
          </p15:clr>
        </p15:guide>
        <p15:guide id="5" orient="horz" pos="364">
          <p15:clr>
            <a:srgbClr val="A4A3A4"/>
          </p15:clr>
        </p15:guide>
        <p15:guide id="6" orient="horz" pos="582">
          <p15:clr>
            <a:srgbClr val="A4A3A4"/>
          </p15:clr>
        </p15:guide>
        <p15:guide id="7" orient="horz" pos="1009">
          <p15:clr>
            <a:srgbClr val="A4A3A4"/>
          </p15:clr>
        </p15:guide>
        <p15:guide id="8" pos="369">
          <p15:clr>
            <a:srgbClr val="A4A3A4"/>
          </p15:clr>
        </p15:guide>
        <p15:guide id="9" pos="6997">
          <p15:clr>
            <a:srgbClr val="A4A3A4"/>
          </p15:clr>
        </p15:guide>
        <p15:guide id="10" pos="3687">
          <p15:clr>
            <a:srgbClr val="A4A3A4"/>
          </p15:clr>
        </p15:guide>
        <p15:guide id="11" pos="3614">
          <p15:clr>
            <a:srgbClr val="A4A3A4"/>
          </p15:clr>
        </p15:guide>
        <p15:guide id="12" pos="3763">
          <p15:clr>
            <a:srgbClr val="A4A3A4"/>
          </p15:clr>
        </p15:guide>
        <p15:guide id="13" orient="horz" pos="20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99FF66"/>
    <a:srgbClr val="FB8800"/>
    <a:srgbClr val="1A8598"/>
    <a:srgbClr val="FFA51C"/>
    <a:srgbClr val="BB006C"/>
    <a:srgbClr val="00B050"/>
    <a:srgbClr val="14BCEB"/>
    <a:srgbClr val="FD9F20"/>
    <a:srgbClr val="EF4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CA20C4-A40A-4F10-97D3-60D710E51B0D}" v="4" dt="2024-06-07T06:55:41.381"/>
  </p1510:revLst>
</p1510:revInfo>
</file>

<file path=ppt/tableStyles.xml><?xml version="1.0" encoding="utf-8"?>
<a:tblStyleLst xmlns:a="http://schemas.openxmlformats.org/drawingml/2006/main" def="{5C22544A-7EE6-4342-B048-85BDC9FD1C3A}"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Stile con tema 2 - Color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Stile con tema 1 - Color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Stile chiaro 1 - Color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Stile medio 3 - 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55" autoAdjust="0"/>
    <p:restoredTop sz="93792" autoAdjust="0"/>
  </p:normalViewPr>
  <p:slideViewPr>
    <p:cSldViewPr snapToGrid="0">
      <p:cViewPr varScale="1">
        <p:scale>
          <a:sx n="65" d="100"/>
          <a:sy n="65" d="100"/>
        </p:scale>
        <p:origin x="948" y="52"/>
      </p:cViewPr>
      <p:guideLst>
        <p:guide orient="horz" pos="3563"/>
        <p:guide orient="horz" pos="801"/>
        <p:guide orient="horz" pos="364"/>
        <p:guide orient="horz" pos="582"/>
        <p:guide orient="horz" pos="1009"/>
        <p:guide pos="369"/>
        <p:guide pos="6997"/>
        <p:guide pos="3687"/>
        <p:guide pos="3614"/>
        <p:guide pos="3763"/>
        <p:guide orient="horz" pos="207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RTURAN Simone" userId="cd00e300-1579-4762-b4f5-6df79fbf0a7c" providerId="ADAL" clId="{74CA20C4-A40A-4F10-97D3-60D710E51B0D}"/>
    <pc:docChg chg="undo custSel modSld">
      <pc:chgData name="CARTURAN Simone" userId="cd00e300-1579-4762-b4f5-6df79fbf0a7c" providerId="ADAL" clId="{74CA20C4-A40A-4F10-97D3-60D710E51B0D}" dt="2024-06-07T07:07:55.877" v="207" actId="20577"/>
      <pc:docMkLst>
        <pc:docMk/>
      </pc:docMkLst>
      <pc:sldChg chg="delSp modSp mod">
        <pc:chgData name="CARTURAN Simone" userId="cd00e300-1579-4762-b4f5-6df79fbf0a7c" providerId="ADAL" clId="{74CA20C4-A40A-4F10-97D3-60D710E51B0D}" dt="2024-05-09T06:57:25.273" v="11" actId="20577"/>
        <pc:sldMkLst>
          <pc:docMk/>
          <pc:sldMk cId="770924055" sldId="2147474084"/>
        </pc:sldMkLst>
        <pc:spChg chg="del">
          <ac:chgData name="CARTURAN Simone" userId="cd00e300-1579-4762-b4f5-6df79fbf0a7c" providerId="ADAL" clId="{74CA20C4-A40A-4F10-97D3-60D710E51B0D}" dt="2024-05-09T06:56:59.671" v="0" actId="478"/>
          <ac:spMkLst>
            <pc:docMk/>
            <pc:sldMk cId="770924055" sldId="2147474084"/>
            <ac:spMk id="10" creationId="{328040CA-1D5D-6F48-551B-4D021392E158}"/>
          </ac:spMkLst>
        </pc:spChg>
        <pc:spChg chg="del">
          <ac:chgData name="CARTURAN Simone" userId="cd00e300-1579-4762-b4f5-6df79fbf0a7c" providerId="ADAL" clId="{74CA20C4-A40A-4F10-97D3-60D710E51B0D}" dt="2024-05-09T06:57:04.033" v="2" actId="478"/>
          <ac:spMkLst>
            <pc:docMk/>
            <pc:sldMk cId="770924055" sldId="2147474084"/>
            <ac:spMk id="11" creationId="{4334535C-FCCD-D36A-1343-E03CAD89C075}"/>
          </ac:spMkLst>
        </pc:spChg>
        <pc:spChg chg="del">
          <ac:chgData name="CARTURAN Simone" userId="cd00e300-1579-4762-b4f5-6df79fbf0a7c" providerId="ADAL" clId="{74CA20C4-A40A-4F10-97D3-60D710E51B0D}" dt="2024-05-09T06:57:01.876" v="1" actId="478"/>
          <ac:spMkLst>
            <pc:docMk/>
            <pc:sldMk cId="770924055" sldId="2147474084"/>
            <ac:spMk id="13415" creationId="{FB8E3AB5-6371-FE72-6350-F83DFF9A1AE6}"/>
          </ac:spMkLst>
        </pc:spChg>
        <pc:spChg chg="mod">
          <ac:chgData name="CARTURAN Simone" userId="cd00e300-1579-4762-b4f5-6df79fbf0a7c" providerId="ADAL" clId="{74CA20C4-A40A-4F10-97D3-60D710E51B0D}" dt="2024-05-09T06:57:20.109" v="10" actId="20577"/>
          <ac:spMkLst>
            <pc:docMk/>
            <pc:sldMk cId="770924055" sldId="2147474084"/>
            <ac:spMk id="13426" creationId="{EC0EA4AE-5E82-6885-5A65-DAD5EA2FE534}"/>
          </ac:spMkLst>
        </pc:spChg>
        <pc:spChg chg="mod">
          <ac:chgData name="CARTURAN Simone" userId="cd00e300-1579-4762-b4f5-6df79fbf0a7c" providerId="ADAL" clId="{74CA20C4-A40A-4F10-97D3-60D710E51B0D}" dt="2024-05-09T06:57:25.273" v="11" actId="20577"/>
          <ac:spMkLst>
            <pc:docMk/>
            <pc:sldMk cId="770924055" sldId="2147474084"/>
            <ac:spMk id="13427" creationId="{AB2DBBCA-785F-80D7-925E-31AACD0ABB94}"/>
          </ac:spMkLst>
        </pc:spChg>
      </pc:sldChg>
      <pc:sldChg chg="modSp mod">
        <pc:chgData name="CARTURAN Simone" userId="cd00e300-1579-4762-b4f5-6df79fbf0a7c" providerId="ADAL" clId="{74CA20C4-A40A-4F10-97D3-60D710E51B0D}" dt="2024-06-07T07:07:55.877" v="207" actId="20577"/>
        <pc:sldMkLst>
          <pc:docMk/>
          <pc:sldMk cId="3164341987" sldId="2147474085"/>
        </pc:sldMkLst>
        <pc:spChg chg="mod">
          <ac:chgData name="CARTURAN Simone" userId="cd00e300-1579-4762-b4f5-6df79fbf0a7c" providerId="ADAL" clId="{74CA20C4-A40A-4F10-97D3-60D710E51B0D}" dt="2024-06-07T07:07:55.877" v="207" actId="20577"/>
          <ac:spMkLst>
            <pc:docMk/>
            <pc:sldMk cId="3164341987" sldId="2147474085"/>
            <ac:spMk id="2" creationId="{CF1FF1FE-B80B-ABC1-E0A9-2FF803D31E65}"/>
          </ac:spMkLst>
        </pc:spChg>
      </pc:sldChg>
      <pc:sldChg chg="addSp modSp mod">
        <pc:chgData name="CARTURAN Simone" userId="cd00e300-1579-4762-b4f5-6df79fbf0a7c" providerId="ADAL" clId="{74CA20C4-A40A-4F10-97D3-60D710E51B0D}" dt="2024-06-07T06:55:45.292" v="153" actId="1076"/>
        <pc:sldMkLst>
          <pc:docMk/>
          <pc:sldMk cId="1293235533" sldId="2147474086"/>
        </pc:sldMkLst>
        <pc:spChg chg="mod">
          <ac:chgData name="CARTURAN Simone" userId="cd00e300-1579-4762-b4f5-6df79fbf0a7c" providerId="ADAL" clId="{74CA20C4-A40A-4F10-97D3-60D710E51B0D}" dt="2024-06-07T06:54:43.176" v="108" actId="1036"/>
          <ac:spMkLst>
            <pc:docMk/>
            <pc:sldMk cId="1293235533" sldId="2147474086"/>
            <ac:spMk id="5" creationId="{1D9C7547-EB25-4896-E64A-20CD09B6FED3}"/>
          </ac:spMkLst>
        </pc:spChg>
        <pc:spChg chg="mod">
          <ac:chgData name="CARTURAN Simone" userId="cd00e300-1579-4762-b4f5-6df79fbf0a7c" providerId="ADAL" clId="{74CA20C4-A40A-4F10-97D3-60D710E51B0D}" dt="2024-06-07T06:54:43.176" v="108" actId="1036"/>
          <ac:spMkLst>
            <pc:docMk/>
            <pc:sldMk cId="1293235533" sldId="2147474086"/>
            <ac:spMk id="6" creationId="{46850ECB-4B24-FACF-B763-85B1956B7F23}"/>
          </ac:spMkLst>
        </pc:spChg>
        <pc:spChg chg="mod">
          <ac:chgData name="CARTURAN Simone" userId="cd00e300-1579-4762-b4f5-6df79fbf0a7c" providerId="ADAL" clId="{74CA20C4-A40A-4F10-97D3-60D710E51B0D}" dt="2024-06-07T06:54:43.176" v="108" actId="1036"/>
          <ac:spMkLst>
            <pc:docMk/>
            <pc:sldMk cId="1293235533" sldId="2147474086"/>
            <ac:spMk id="8" creationId="{15540588-DA3C-0BFC-0BF8-3286CCF711F5}"/>
          </ac:spMkLst>
        </pc:spChg>
        <pc:spChg chg="mod">
          <ac:chgData name="CARTURAN Simone" userId="cd00e300-1579-4762-b4f5-6df79fbf0a7c" providerId="ADAL" clId="{74CA20C4-A40A-4F10-97D3-60D710E51B0D}" dt="2024-06-07T06:54:43.176" v="108" actId="1036"/>
          <ac:spMkLst>
            <pc:docMk/>
            <pc:sldMk cId="1293235533" sldId="2147474086"/>
            <ac:spMk id="9" creationId="{25AAE007-EDAC-18B4-6E23-3271EE932668}"/>
          </ac:spMkLst>
        </pc:spChg>
        <pc:spChg chg="mod">
          <ac:chgData name="CARTURAN Simone" userId="cd00e300-1579-4762-b4f5-6df79fbf0a7c" providerId="ADAL" clId="{74CA20C4-A40A-4F10-97D3-60D710E51B0D}" dt="2024-06-07T06:54:43.176" v="108" actId="1036"/>
          <ac:spMkLst>
            <pc:docMk/>
            <pc:sldMk cId="1293235533" sldId="2147474086"/>
            <ac:spMk id="10" creationId="{32C58EAE-FDBC-F70E-C92C-BA1421E4E99A}"/>
          </ac:spMkLst>
        </pc:spChg>
        <pc:spChg chg="mod">
          <ac:chgData name="CARTURAN Simone" userId="cd00e300-1579-4762-b4f5-6df79fbf0a7c" providerId="ADAL" clId="{74CA20C4-A40A-4F10-97D3-60D710E51B0D}" dt="2024-06-07T06:54:43.176" v="108" actId="1036"/>
          <ac:spMkLst>
            <pc:docMk/>
            <pc:sldMk cId="1293235533" sldId="2147474086"/>
            <ac:spMk id="11" creationId="{09DB1C43-A93E-C4A4-3191-8948A291A007}"/>
          </ac:spMkLst>
        </pc:spChg>
        <pc:spChg chg="mod">
          <ac:chgData name="CARTURAN Simone" userId="cd00e300-1579-4762-b4f5-6df79fbf0a7c" providerId="ADAL" clId="{74CA20C4-A40A-4F10-97D3-60D710E51B0D}" dt="2024-06-07T06:55:03.179" v="121" actId="14100"/>
          <ac:spMkLst>
            <pc:docMk/>
            <pc:sldMk cId="1293235533" sldId="2147474086"/>
            <ac:spMk id="12" creationId="{90B7BD3A-5FB9-FD40-8107-19F44307E2A8}"/>
          </ac:spMkLst>
        </pc:spChg>
        <pc:spChg chg="mod">
          <ac:chgData name="CARTURAN Simone" userId="cd00e300-1579-4762-b4f5-6df79fbf0a7c" providerId="ADAL" clId="{74CA20C4-A40A-4F10-97D3-60D710E51B0D}" dt="2024-06-07T06:54:58.415" v="120" actId="14100"/>
          <ac:spMkLst>
            <pc:docMk/>
            <pc:sldMk cId="1293235533" sldId="2147474086"/>
            <ac:spMk id="13" creationId="{BBCB0944-181E-8669-0D51-C6CC32C91A70}"/>
          </ac:spMkLst>
        </pc:spChg>
        <pc:spChg chg="mod">
          <ac:chgData name="CARTURAN Simone" userId="cd00e300-1579-4762-b4f5-6df79fbf0a7c" providerId="ADAL" clId="{74CA20C4-A40A-4F10-97D3-60D710E51B0D}" dt="2024-06-07T06:54:52.637" v="119" actId="1036"/>
          <ac:spMkLst>
            <pc:docMk/>
            <pc:sldMk cId="1293235533" sldId="2147474086"/>
            <ac:spMk id="14" creationId="{40513FCE-E61A-14EA-32B2-39A93E300061}"/>
          </ac:spMkLst>
        </pc:spChg>
        <pc:spChg chg="mod">
          <ac:chgData name="CARTURAN Simone" userId="cd00e300-1579-4762-b4f5-6df79fbf0a7c" providerId="ADAL" clId="{74CA20C4-A40A-4F10-97D3-60D710E51B0D}" dt="2024-06-07T06:54:52.637" v="119" actId="1036"/>
          <ac:spMkLst>
            <pc:docMk/>
            <pc:sldMk cId="1293235533" sldId="2147474086"/>
            <ac:spMk id="15" creationId="{94287E67-D71E-98F1-DC6E-A3897A68882E}"/>
          </ac:spMkLst>
        </pc:spChg>
        <pc:spChg chg="add mod">
          <ac:chgData name="CARTURAN Simone" userId="cd00e300-1579-4762-b4f5-6df79fbf0a7c" providerId="ADAL" clId="{74CA20C4-A40A-4F10-97D3-60D710E51B0D}" dt="2024-06-07T06:55:39.846" v="151" actId="1076"/>
          <ac:spMkLst>
            <pc:docMk/>
            <pc:sldMk cId="1293235533" sldId="2147474086"/>
            <ac:spMk id="17" creationId="{3BD4EE56-AB64-B392-0A64-AAA11C859687}"/>
          </ac:spMkLst>
        </pc:spChg>
        <pc:spChg chg="add mod">
          <ac:chgData name="CARTURAN Simone" userId="cd00e300-1579-4762-b4f5-6df79fbf0a7c" providerId="ADAL" clId="{74CA20C4-A40A-4F10-97D3-60D710E51B0D}" dt="2024-06-07T06:55:45.292" v="153" actId="1076"/>
          <ac:spMkLst>
            <pc:docMk/>
            <pc:sldMk cId="1293235533" sldId="2147474086"/>
            <ac:spMk id="18" creationId="{B0B2852B-1196-A45C-BC5A-2805A3BEBB0A}"/>
          </ac:spMkLst>
        </pc:spChg>
      </pc:sldChg>
      <pc:sldChg chg="modSp mod">
        <pc:chgData name="CARTURAN Simone" userId="cd00e300-1579-4762-b4f5-6df79fbf0a7c" providerId="ADAL" clId="{74CA20C4-A40A-4F10-97D3-60D710E51B0D}" dt="2024-06-07T06:53:45.476" v="78" actId="1076"/>
        <pc:sldMkLst>
          <pc:docMk/>
          <pc:sldMk cId="569974212" sldId="2147474091"/>
        </pc:sldMkLst>
        <pc:spChg chg="mod">
          <ac:chgData name="CARTURAN Simone" userId="cd00e300-1579-4762-b4f5-6df79fbf0a7c" providerId="ADAL" clId="{74CA20C4-A40A-4F10-97D3-60D710E51B0D}" dt="2024-06-07T06:53:45.476" v="78" actId="1076"/>
          <ac:spMkLst>
            <pc:docMk/>
            <pc:sldMk cId="569974212" sldId="2147474091"/>
            <ac:spMk id="6" creationId="{D2CF0BAE-F2F0-C932-C767-C10871E52196}"/>
          </ac:spMkLst>
        </pc:spChg>
      </pc:sldChg>
      <pc:sldChg chg="addSp delSp modSp mod">
        <pc:chgData name="CARTURAN Simone" userId="cd00e300-1579-4762-b4f5-6df79fbf0a7c" providerId="ADAL" clId="{74CA20C4-A40A-4F10-97D3-60D710E51B0D}" dt="2024-06-07T06:51:41.786" v="46" actId="1076"/>
        <pc:sldMkLst>
          <pc:docMk/>
          <pc:sldMk cId="3856804027" sldId="2147474095"/>
        </pc:sldMkLst>
        <pc:spChg chg="ord">
          <ac:chgData name="CARTURAN Simone" userId="cd00e300-1579-4762-b4f5-6df79fbf0a7c" providerId="ADAL" clId="{74CA20C4-A40A-4F10-97D3-60D710E51B0D}" dt="2024-06-07T06:51:34.531" v="45" actId="167"/>
          <ac:spMkLst>
            <pc:docMk/>
            <pc:sldMk cId="3856804027" sldId="2147474095"/>
            <ac:spMk id="13" creationId="{1F3BCC22-4608-1FA9-C4B2-9F67CD89D5EA}"/>
          </ac:spMkLst>
        </pc:spChg>
        <pc:grpChg chg="del ord">
          <ac:chgData name="CARTURAN Simone" userId="cd00e300-1579-4762-b4f5-6df79fbf0a7c" providerId="ADAL" clId="{74CA20C4-A40A-4F10-97D3-60D710E51B0D}" dt="2024-06-07T06:51:13.636" v="39" actId="478"/>
          <ac:grpSpMkLst>
            <pc:docMk/>
            <pc:sldMk cId="3856804027" sldId="2147474095"/>
            <ac:grpSpMk id="24" creationId="{22582CED-8EF3-B27D-C6E2-D50A9CF24358}"/>
          </ac:grpSpMkLst>
        </pc:grpChg>
        <pc:picChg chg="del">
          <ac:chgData name="CARTURAN Simone" userId="cd00e300-1579-4762-b4f5-6df79fbf0a7c" providerId="ADAL" clId="{74CA20C4-A40A-4F10-97D3-60D710E51B0D}" dt="2024-06-07T06:49:04.587" v="34" actId="478"/>
          <ac:picMkLst>
            <pc:docMk/>
            <pc:sldMk cId="3856804027" sldId="2147474095"/>
            <ac:picMk id="3" creationId="{A1490504-DB1D-4FD4-4A85-923960100D9F}"/>
          </ac:picMkLst>
        </pc:picChg>
        <pc:picChg chg="add mod">
          <ac:chgData name="CARTURAN Simone" userId="cd00e300-1579-4762-b4f5-6df79fbf0a7c" providerId="ADAL" clId="{74CA20C4-A40A-4F10-97D3-60D710E51B0D}" dt="2024-06-07T06:49:14.611" v="35" actId="1076"/>
          <ac:picMkLst>
            <pc:docMk/>
            <pc:sldMk cId="3856804027" sldId="2147474095"/>
            <ac:picMk id="4" creationId="{3C2E8AF8-623D-A7B8-09E3-3DCD0883F7BD}"/>
          </ac:picMkLst>
        </pc:picChg>
        <pc:picChg chg="add mod ord">
          <ac:chgData name="CARTURAN Simone" userId="cd00e300-1579-4762-b4f5-6df79fbf0a7c" providerId="ADAL" clId="{74CA20C4-A40A-4F10-97D3-60D710E51B0D}" dt="2024-06-07T06:51:41.786" v="46" actId="1076"/>
          <ac:picMkLst>
            <pc:docMk/>
            <pc:sldMk cId="3856804027" sldId="2147474095"/>
            <ac:picMk id="8" creationId="{9B602F3E-7ADB-283A-E4B6-00889E21B142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kyglobal-my.sharepoint.com/personal/simone_carturan_skytv_it/Documents/Documents/BlueBird%20Network/Presentazioni/ITNOG/Volumi%20IPv6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ky Text" panose="020B0506040202020204" pitchFamily="34" charset="0"/>
                <a:ea typeface="+mn-ea"/>
                <a:cs typeface="+mn-cs"/>
              </a:defRPr>
            </a:pPr>
            <a:r>
              <a:rPr lang="it-IT" b="1">
                <a:latin typeface="Sky Text" panose="020B0506040202020204" pitchFamily="34" charset="0"/>
              </a:rPr>
              <a:t>IPv4 vs IPv6 Servic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ky Text" panose="020B0506040202020204" pitchFamily="34" charset="0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[Volumi IPv6.xlsx]Foglio1'!$C$42</c:f>
              <c:strCache>
                <c:ptCount val="1"/>
                <c:pt idx="0">
                  <c:v>IPv4</c:v>
                </c:pt>
              </c:strCache>
            </c:strRef>
          </c:tx>
          <c:spPr>
            <a:solidFill>
              <a:srgbClr val="1A8598"/>
            </a:solidFill>
            <a:ln>
              <a:noFill/>
            </a:ln>
            <a:effectLst/>
          </c:spPr>
          <c:invertIfNegative val="0"/>
          <c:cat>
            <c:strRef>
              <c:f>'[Volumi IPv6.xlsx]Foglio1'!$A$43:$B$56</c:f>
              <c:strCache>
                <c:ptCount val="14"/>
                <c:pt idx="0">
                  <c:v>netflix.com</c:v>
                </c:pt>
                <c:pt idx="1">
                  <c:v>youtube.com</c:v>
                </c:pt>
                <c:pt idx="2">
                  <c:v>dazn.com</c:v>
                </c:pt>
                <c:pt idx="3">
                  <c:v>streaming.amazon.com</c:v>
                </c:pt>
                <c:pt idx="4">
                  <c:v>plus.disney.com</c:v>
                </c:pt>
                <c:pt idx="5">
                  <c:v>apple.com</c:v>
                </c:pt>
                <c:pt idx="6">
                  <c:v>instagram.com</c:v>
                </c:pt>
                <c:pt idx="7">
                  <c:v>facebook.com</c:v>
                </c:pt>
                <c:pt idx="8">
                  <c:v>tiktok.com</c:v>
                </c:pt>
                <c:pt idx="9">
                  <c:v>xboxlive.com</c:v>
                </c:pt>
                <c:pt idx="10">
                  <c:v>playstation.com</c:v>
                </c:pt>
                <c:pt idx="11">
                  <c:v>epicgame.com</c:v>
                </c:pt>
                <c:pt idx="12">
                  <c:v>ea.com</c:v>
                </c:pt>
                <c:pt idx="13">
                  <c:v>akamai</c:v>
                </c:pt>
              </c:strCache>
              <c:extLst/>
            </c:strRef>
          </c:cat>
          <c:val>
            <c:numRef>
              <c:f>'[Volumi IPv6.xlsx]Foglio1'!$C$43:$C$56</c:f>
              <c:numCache>
                <c:formatCode>0%</c:formatCode>
                <c:ptCount val="14"/>
                <c:pt idx="0">
                  <c:v>0.60579946430650988</c:v>
                </c:pt>
                <c:pt idx="1">
                  <c:v>0.36126570201939895</c:v>
                </c:pt>
                <c:pt idx="2">
                  <c:v>0.8675429726996966</c:v>
                </c:pt>
                <c:pt idx="3">
                  <c:v>0.72818700733895081</c:v>
                </c:pt>
                <c:pt idx="4">
                  <c:v>0.60188298587760591</c:v>
                </c:pt>
                <c:pt idx="5">
                  <c:v>0.19444444444444442</c:v>
                </c:pt>
                <c:pt idx="6">
                  <c:v>0.16607684529828109</c:v>
                </c:pt>
                <c:pt idx="7">
                  <c:v>0.24120317820658346</c:v>
                </c:pt>
                <c:pt idx="8">
                  <c:v>0.97904296192804741</c:v>
                </c:pt>
                <c:pt idx="9">
                  <c:v>0.87979966611018368</c:v>
                </c:pt>
                <c:pt idx="10">
                  <c:v>0.99929947460595447</c:v>
                </c:pt>
                <c:pt idx="11">
                  <c:v>0.99422706863373955</c:v>
                </c:pt>
                <c:pt idx="12">
                  <c:v>0.95758218451749733</c:v>
                </c:pt>
                <c:pt idx="13">
                  <c:v>0.548538011695906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61-47D0-B9F5-90782092C6A1}"/>
            </c:ext>
          </c:extLst>
        </c:ser>
        <c:ser>
          <c:idx val="1"/>
          <c:order val="1"/>
          <c:tx>
            <c:strRef>
              <c:f>'[Volumi IPv6.xlsx]Foglio1'!$D$42</c:f>
              <c:strCache>
                <c:ptCount val="1"/>
                <c:pt idx="0">
                  <c:v>IPv6</c:v>
                </c:pt>
              </c:strCache>
            </c:strRef>
          </c:tx>
          <c:spPr>
            <a:solidFill>
              <a:srgbClr val="FFA51C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FFA51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961-47D0-B9F5-90782092C6A1}"/>
              </c:ext>
            </c:extLst>
          </c:dPt>
          <c:cat>
            <c:strRef>
              <c:f>'[Volumi IPv6.xlsx]Foglio1'!$A$43:$B$56</c:f>
              <c:strCache>
                <c:ptCount val="14"/>
                <c:pt idx="0">
                  <c:v>netflix.com</c:v>
                </c:pt>
                <c:pt idx="1">
                  <c:v>youtube.com</c:v>
                </c:pt>
                <c:pt idx="2">
                  <c:v>dazn.com</c:v>
                </c:pt>
                <c:pt idx="3">
                  <c:v>streaming.amazon.com</c:v>
                </c:pt>
                <c:pt idx="4">
                  <c:v>plus.disney.com</c:v>
                </c:pt>
                <c:pt idx="5">
                  <c:v>apple.com</c:v>
                </c:pt>
                <c:pt idx="6">
                  <c:v>instagram.com</c:v>
                </c:pt>
                <c:pt idx="7">
                  <c:v>facebook.com</c:v>
                </c:pt>
                <c:pt idx="8">
                  <c:v>tiktok.com</c:v>
                </c:pt>
                <c:pt idx="9">
                  <c:v>xboxlive.com</c:v>
                </c:pt>
                <c:pt idx="10">
                  <c:v>playstation.com</c:v>
                </c:pt>
                <c:pt idx="11">
                  <c:v>epicgame.com</c:v>
                </c:pt>
                <c:pt idx="12">
                  <c:v>ea.com</c:v>
                </c:pt>
                <c:pt idx="13">
                  <c:v>akamai</c:v>
                </c:pt>
              </c:strCache>
              <c:extLst/>
            </c:strRef>
          </c:cat>
          <c:val>
            <c:numRef>
              <c:f>'[Volumi IPv6.xlsx]Foglio1'!$D$43:$D$56</c:f>
              <c:numCache>
                <c:formatCode>0%</c:formatCode>
                <c:ptCount val="14"/>
                <c:pt idx="0">
                  <c:v>0.39420053569349017</c:v>
                </c:pt>
                <c:pt idx="1">
                  <c:v>0.63873429798060111</c:v>
                </c:pt>
                <c:pt idx="2">
                  <c:v>0.13245702730030334</c:v>
                </c:pt>
                <c:pt idx="3">
                  <c:v>0.27181299266104919</c:v>
                </c:pt>
                <c:pt idx="4">
                  <c:v>0.39811701412239409</c:v>
                </c:pt>
                <c:pt idx="5">
                  <c:v>0.80555555555555547</c:v>
                </c:pt>
                <c:pt idx="6">
                  <c:v>0.83392315470171896</c:v>
                </c:pt>
                <c:pt idx="7">
                  <c:v>0.75879682179341668</c:v>
                </c:pt>
                <c:pt idx="8">
                  <c:v>2.0957038071952493E-2</c:v>
                </c:pt>
                <c:pt idx="9">
                  <c:v>0.12020033388981638</c:v>
                </c:pt>
                <c:pt idx="10">
                  <c:v>7.0052539404553418E-4</c:v>
                </c:pt>
                <c:pt idx="11">
                  <c:v>5.7729313662604233E-3</c:v>
                </c:pt>
                <c:pt idx="12">
                  <c:v>4.2417815482502653E-2</c:v>
                </c:pt>
                <c:pt idx="13">
                  <c:v>0.45146198830409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61-47D0-B9F5-90782092C6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70101712"/>
        <c:axId val="911783424"/>
      </c:barChart>
      <c:catAx>
        <c:axId val="670101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ky Text" panose="020B0506040202020204" pitchFamily="34" charset="0"/>
                <a:ea typeface="+mn-ea"/>
                <a:cs typeface="+mn-cs"/>
              </a:defRPr>
            </a:pPr>
            <a:endParaRPr lang="it-IT"/>
          </a:p>
        </c:txPr>
        <c:crossAx val="911783424"/>
        <c:crosses val="autoZero"/>
        <c:auto val="1"/>
        <c:lblAlgn val="ctr"/>
        <c:lblOffset val="100"/>
        <c:noMultiLvlLbl val="0"/>
      </c:catAx>
      <c:valAx>
        <c:axId val="911783424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ky Text" panose="020B0506040202020204" pitchFamily="34" charset="0"/>
                <a:ea typeface="+mn-ea"/>
                <a:cs typeface="+mn-cs"/>
              </a:defRPr>
            </a:pPr>
            <a:endParaRPr lang="it-IT"/>
          </a:p>
        </c:txPr>
        <c:crossAx val="670101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ky Text" panose="020B0506040202020204" pitchFamily="34" charset="0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Sky Tex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32FDB8-6624-44F2-B55F-76766B54F52E}" type="datetimeFigureOut">
              <a:rPr lang="en-GB" smtClean="0">
                <a:latin typeface="Sky Text"/>
              </a:rPr>
              <a:t>07/06/2024</a:t>
            </a:fld>
            <a:endParaRPr lang="en-GB">
              <a:latin typeface="Sky Tex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Sky Tex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EC629B-57E8-4888-992D-55682DE18403}" type="slidenum">
              <a:rPr lang="en-GB" smtClean="0">
                <a:latin typeface="Sky Text"/>
              </a:rPr>
              <a:t>‹N›</a:t>
            </a:fld>
            <a:endParaRPr lang="en-GB">
              <a:latin typeface="Sky Text"/>
            </a:endParaRPr>
          </a:p>
        </p:txBody>
      </p:sp>
    </p:spTree>
    <p:extLst>
      <p:ext uri="{BB962C8B-B14F-4D97-AF65-F5344CB8AC3E}">
        <p14:creationId xmlns:p14="http://schemas.microsoft.com/office/powerpoint/2010/main" val="3864424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ky Text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ky Text"/>
              </a:defRPr>
            </a:lvl1pPr>
          </a:lstStyle>
          <a:p>
            <a:fld id="{0A6461F5-529A-C842-AC66-1C38DB5F2C5F}" type="datetimeFigureOut">
              <a:rPr lang="en-US" smtClean="0"/>
              <a:pPr/>
              <a:t>6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ky Text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ky Text"/>
              </a:defRPr>
            </a:lvl1pPr>
          </a:lstStyle>
          <a:p>
            <a:fld id="{75DDEA6C-8F12-2946-8FEA-AB499F25748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766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85216" rtl="0" eaLnBrk="1" latinLnBrk="0" hangingPunct="1">
      <a:defRPr sz="1500" kern="1200">
        <a:solidFill>
          <a:schemeClr val="tx1"/>
        </a:solidFill>
        <a:latin typeface="Sky Text"/>
        <a:ea typeface="+mn-ea"/>
        <a:cs typeface="+mn-cs"/>
      </a:defRPr>
    </a:lvl1pPr>
    <a:lvl2pPr marL="585216" algn="l" defTabSz="585216" rtl="0" eaLnBrk="1" latinLnBrk="0" hangingPunct="1">
      <a:defRPr sz="1500" kern="1200">
        <a:solidFill>
          <a:schemeClr val="tx1"/>
        </a:solidFill>
        <a:latin typeface="Sky Text"/>
        <a:ea typeface="+mn-ea"/>
        <a:cs typeface="+mn-cs"/>
      </a:defRPr>
    </a:lvl2pPr>
    <a:lvl3pPr marL="1170432" algn="l" defTabSz="585216" rtl="0" eaLnBrk="1" latinLnBrk="0" hangingPunct="1">
      <a:defRPr sz="1500" kern="1200">
        <a:solidFill>
          <a:schemeClr val="tx1"/>
        </a:solidFill>
        <a:latin typeface="Sky Text"/>
        <a:ea typeface="+mn-ea"/>
        <a:cs typeface="+mn-cs"/>
      </a:defRPr>
    </a:lvl3pPr>
    <a:lvl4pPr marL="1755648" algn="l" defTabSz="585216" rtl="0" eaLnBrk="1" latinLnBrk="0" hangingPunct="1">
      <a:defRPr sz="1500" kern="1200">
        <a:solidFill>
          <a:schemeClr val="tx1"/>
        </a:solidFill>
        <a:latin typeface="Sky Text"/>
        <a:ea typeface="+mn-ea"/>
        <a:cs typeface="+mn-cs"/>
      </a:defRPr>
    </a:lvl4pPr>
    <a:lvl5pPr marL="2340864" algn="l" defTabSz="585216" rtl="0" eaLnBrk="1" latinLnBrk="0" hangingPunct="1">
      <a:defRPr sz="1500" kern="1200">
        <a:solidFill>
          <a:schemeClr val="tx1"/>
        </a:solidFill>
        <a:latin typeface="Sky Text"/>
        <a:ea typeface="+mn-ea"/>
        <a:cs typeface="+mn-cs"/>
      </a:defRPr>
    </a:lvl5pPr>
    <a:lvl6pPr marL="2926080" algn="l" defTabSz="58521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511296" algn="l" defTabSz="58521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96512" algn="l" defTabSz="58521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81728" algn="l" defTabSz="58521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1254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585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7036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768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6912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sz="1800" dirty="0"/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9511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sz="1800" dirty="0"/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0500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2434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1291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2014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9231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456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4052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2559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3944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179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2994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6987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7216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9613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it-IT" sz="1800" dirty="0">
              <a:solidFill>
                <a:srgbClr val="0D0D0D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DDEA6C-8F12-2946-8FEA-AB499F25748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589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6900" y="4637088"/>
            <a:ext cx="10510838" cy="677862"/>
          </a:xfrm>
        </p:spPr>
        <p:txBody>
          <a:bodyPr anchor="b" anchorCtr="1">
            <a:noAutofit/>
          </a:bodyPr>
          <a:lstStyle>
            <a:lvl1pPr algn="ctr">
              <a:defRPr sz="2800">
                <a:solidFill>
                  <a:srgbClr val="21429C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6901" y="5330190"/>
            <a:ext cx="10510838" cy="674688"/>
          </a:xfrm>
          <a:noFill/>
        </p:spPr>
        <p:txBody>
          <a:bodyPr anchor="t" anchorCtr="1">
            <a:noAutofit/>
          </a:bodyPr>
          <a:lstStyle>
            <a:lvl1pPr marL="0" indent="0" algn="ctr">
              <a:buNone/>
              <a:defRPr sz="2000">
                <a:solidFill>
                  <a:srgbClr val="323232"/>
                </a:solidFill>
                <a:latin typeface="+mn-lt"/>
              </a:defRPr>
            </a:lvl1pPr>
            <a:lvl2pPr marL="585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70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55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40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11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96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81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8" name="Picture 7" descr="Sky Logo">
            <a:extLst>
              <a:ext uri="{FF2B5EF4-FFF2-40B4-BE49-F238E27FC236}">
                <a16:creationId xmlns:a16="http://schemas.microsoft.com/office/drawing/2014/main" id="{1B0ACC0B-ACA5-8645-804C-356A9393B9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663" y="1153625"/>
            <a:ext cx="5769312" cy="352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0115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2" y="264148"/>
            <a:ext cx="10534174" cy="109722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585235" y="1473130"/>
            <a:ext cx="5171581" cy="61566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72" b="1"/>
            </a:lvl1pPr>
            <a:lvl2pPr marL="585187" indent="0">
              <a:buNone/>
              <a:defRPr sz="2560" b="1"/>
            </a:lvl2pPr>
            <a:lvl3pPr marL="1170374" indent="0">
              <a:buNone/>
              <a:defRPr sz="2304" b="1"/>
            </a:lvl3pPr>
            <a:lvl4pPr marL="1755561" indent="0">
              <a:buNone/>
              <a:defRPr sz="2048" b="1"/>
            </a:lvl4pPr>
            <a:lvl5pPr marL="2340747" indent="0">
              <a:buNone/>
              <a:defRPr sz="2048" b="1"/>
            </a:lvl5pPr>
            <a:lvl6pPr marL="2925934" indent="0">
              <a:buNone/>
              <a:defRPr sz="2048" b="1"/>
            </a:lvl6pPr>
            <a:lvl7pPr marL="3511121" indent="0">
              <a:buNone/>
              <a:defRPr sz="2048" b="1"/>
            </a:lvl7pPr>
            <a:lvl8pPr marL="4096308" indent="0">
              <a:buNone/>
              <a:defRPr sz="2048" b="1"/>
            </a:lvl8pPr>
            <a:lvl9pPr marL="4681495" indent="0">
              <a:buNone/>
              <a:defRPr sz="2048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85235" y="2088801"/>
            <a:ext cx="5171581" cy="3791529"/>
          </a:xfrm>
          <a:prstGeom prst="rect">
            <a:avLst/>
          </a:prstGeom>
        </p:spPr>
        <p:txBody>
          <a:bodyPr/>
          <a:lstStyle>
            <a:lvl1pPr>
              <a:defRPr sz="3072"/>
            </a:lvl1pPr>
            <a:lvl2pPr>
              <a:defRPr sz="2560"/>
            </a:lvl2pPr>
            <a:lvl3pPr>
              <a:defRPr sz="2304"/>
            </a:lvl3pPr>
            <a:lvl4pPr>
              <a:defRPr sz="2048"/>
            </a:lvl4pPr>
            <a:lvl5pPr>
              <a:defRPr sz="2048"/>
            </a:lvl5pPr>
            <a:lvl6pPr>
              <a:defRPr sz="2048"/>
            </a:lvl6pPr>
            <a:lvl7pPr>
              <a:defRPr sz="2048"/>
            </a:lvl7pPr>
            <a:lvl8pPr>
              <a:defRPr sz="2048"/>
            </a:lvl8pPr>
            <a:lvl9pPr>
              <a:defRPr sz="2048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945797" y="1473130"/>
            <a:ext cx="5173612" cy="61566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72" b="1"/>
            </a:lvl1pPr>
            <a:lvl2pPr marL="585187" indent="0">
              <a:buNone/>
              <a:defRPr sz="2560" b="1"/>
            </a:lvl2pPr>
            <a:lvl3pPr marL="1170374" indent="0">
              <a:buNone/>
              <a:defRPr sz="2304" b="1"/>
            </a:lvl3pPr>
            <a:lvl4pPr marL="1755561" indent="0">
              <a:buNone/>
              <a:defRPr sz="2048" b="1"/>
            </a:lvl4pPr>
            <a:lvl5pPr marL="2340747" indent="0">
              <a:buNone/>
              <a:defRPr sz="2048" b="1"/>
            </a:lvl5pPr>
            <a:lvl6pPr marL="2925934" indent="0">
              <a:buNone/>
              <a:defRPr sz="2048" b="1"/>
            </a:lvl6pPr>
            <a:lvl7pPr marL="3511121" indent="0">
              <a:buNone/>
              <a:defRPr sz="2048" b="1"/>
            </a:lvl7pPr>
            <a:lvl8pPr marL="4096308" indent="0">
              <a:buNone/>
              <a:defRPr sz="2048" b="1"/>
            </a:lvl8pPr>
            <a:lvl9pPr marL="4681495" indent="0">
              <a:buNone/>
              <a:defRPr sz="2048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945797" y="2088801"/>
            <a:ext cx="5173612" cy="3791529"/>
          </a:xfrm>
          <a:prstGeom prst="rect">
            <a:avLst/>
          </a:prstGeom>
        </p:spPr>
        <p:txBody>
          <a:bodyPr/>
          <a:lstStyle>
            <a:lvl1pPr>
              <a:defRPr sz="3072"/>
            </a:lvl1pPr>
            <a:lvl2pPr>
              <a:defRPr sz="2560"/>
            </a:lvl2pPr>
            <a:lvl3pPr>
              <a:defRPr sz="2304"/>
            </a:lvl3pPr>
            <a:lvl4pPr>
              <a:defRPr sz="2048"/>
            </a:lvl4pPr>
            <a:lvl5pPr>
              <a:defRPr sz="2048"/>
            </a:lvl5pPr>
            <a:lvl6pPr>
              <a:defRPr sz="2048"/>
            </a:lvl6pPr>
            <a:lvl7pPr>
              <a:defRPr sz="2048"/>
            </a:lvl7pPr>
            <a:lvl8pPr>
              <a:defRPr sz="2048"/>
            </a:lvl8pPr>
            <a:lvl9pPr>
              <a:defRPr sz="2048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593967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2" y="264148"/>
            <a:ext cx="10534174" cy="1097227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285563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25" y="1525"/>
          <a:ext cx="1524" cy="15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" y="1525"/>
                        <a:ext cx="1524" cy="15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241075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5" y="262123"/>
            <a:ext cx="3850745" cy="1115513"/>
          </a:xfrm>
          <a:prstGeom prst="rect">
            <a:avLst/>
          </a:prstGeom>
        </p:spPr>
        <p:txBody>
          <a:bodyPr anchor="b"/>
          <a:lstStyle>
            <a:lvl1pPr algn="l">
              <a:defRPr sz="256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6190" y="262123"/>
            <a:ext cx="6543219" cy="5618209"/>
          </a:xfrm>
          <a:prstGeom prst="rect">
            <a:avLst/>
          </a:prstGeom>
        </p:spPr>
        <p:txBody>
          <a:bodyPr/>
          <a:lstStyle>
            <a:lvl1pPr>
              <a:defRPr sz="4096"/>
            </a:lvl1pPr>
            <a:lvl2pPr>
              <a:defRPr sz="3584"/>
            </a:lvl2pPr>
            <a:lvl3pPr>
              <a:defRPr sz="3072"/>
            </a:lvl3pPr>
            <a:lvl4pPr>
              <a:defRPr sz="2560"/>
            </a:lvl4pPr>
            <a:lvl5pPr>
              <a:defRPr sz="256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585235" y="1377630"/>
            <a:ext cx="3850745" cy="4502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2"/>
            </a:lvl1pPr>
            <a:lvl2pPr marL="585187" indent="0">
              <a:buNone/>
              <a:defRPr sz="1536"/>
            </a:lvl2pPr>
            <a:lvl3pPr marL="1170374" indent="0">
              <a:buNone/>
              <a:defRPr sz="1280"/>
            </a:lvl3pPr>
            <a:lvl4pPr marL="1755561" indent="0">
              <a:buNone/>
              <a:defRPr sz="1152"/>
            </a:lvl4pPr>
            <a:lvl5pPr marL="2340747" indent="0">
              <a:buNone/>
              <a:defRPr sz="1152"/>
            </a:lvl5pPr>
            <a:lvl6pPr marL="2925934" indent="0">
              <a:buNone/>
              <a:defRPr sz="1152"/>
            </a:lvl6pPr>
            <a:lvl7pPr marL="3511121" indent="0">
              <a:buNone/>
              <a:defRPr sz="1152"/>
            </a:lvl7pPr>
            <a:lvl8pPr marL="4096308" indent="0">
              <a:buNone/>
              <a:defRPr sz="1152"/>
            </a:lvl8pPr>
            <a:lvl9pPr marL="4681495" indent="0">
              <a:buNone/>
              <a:defRPr sz="1152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587457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294191" y="4608355"/>
            <a:ext cx="7022783" cy="544550"/>
          </a:xfrm>
          <a:prstGeom prst="rect">
            <a:avLst/>
          </a:prstGeom>
        </p:spPr>
        <p:txBody>
          <a:bodyPr anchor="b"/>
          <a:lstStyle>
            <a:lvl1pPr algn="l">
              <a:defRPr sz="256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294191" y="589251"/>
            <a:ext cx="7022783" cy="39500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96"/>
            </a:lvl1pPr>
            <a:lvl2pPr marL="585187" indent="0">
              <a:buNone/>
              <a:defRPr sz="3584"/>
            </a:lvl2pPr>
            <a:lvl3pPr marL="1170374" indent="0">
              <a:buNone/>
              <a:defRPr sz="3072"/>
            </a:lvl3pPr>
            <a:lvl4pPr marL="1755561" indent="0">
              <a:buNone/>
              <a:defRPr sz="2560"/>
            </a:lvl4pPr>
            <a:lvl5pPr marL="2340747" indent="0">
              <a:buNone/>
              <a:defRPr sz="2560"/>
            </a:lvl5pPr>
            <a:lvl6pPr marL="2925934" indent="0">
              <a:buNone/>
              <a:defRPr sz="2560"/>
            </a:lvl6pPr>
            <a:lvl7pPr marL="3511121" indent="0">
              <a:buNone/>
              <a:defRPr sz="2560"/>
            </a:lvl7pPr>
            <a:lvl8pPr marL="4096308" indent="0">
              <a:buNone/>
              <a:defRPr sz="2560"/>
            </a:lvl8pPr>
            <a:lvl9pPr marL="4681495" indent="0">
              <a:buNone/>
              <a:defRPr sz="256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294191" y="5152904"/>
            <a:ext cx="7022783" cy="7721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2"/>
            </a:lvl1pPr>
            <a:lvl2pPr marL="585187" indent="0">
              <a:buNone/>
              <a:defRPr sz="1536"/>
            </a:lvl2pPr>
            <a:lvl3pPr marL="1170374" indent="0">
              <a:buNone/>
              <a:defRPr sz="1280"/>
            </a:lvl3pPr>
            <a:lvl4pPr marL="1755561" indent="0">
              <a:buNone/>
              <a:defRPr sz="1152"/>
            </a:lvl4pPr>
            <a:lvl5pPr marL="2340747" indent="0">
              <a:buNone/>
              <a:defRPr sz="1152"/>
            </a:lvl5pPr>
            <a:lvl6pPr marL="2925934" indent="0">
              <a:buNone/>
              <a:defRPr sz="1152"/>
            </a:lvl6pPr>
            <a:lvl7pPr marL="3511121" indent="0">
              <a:buNone/>
              <a:defRPr sz="1152"/>
            </a:lvl7pPr>
            <a:lvl8pPr marL="4096308" indent="0">
              <a:buNone/>
              <a:defRPr sz="1152"/>
            </a:lvl8pPr>
            <a:lvl9pPr marL="4681495" indent="0">
              <a:buNone/>
              <a:defRPr sz="1152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0958288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 descr="Arriva Sky Wi-Fi, la fibra di qualitÃ  per la famiglia: come ...">
            <a:extLst>
              <a:ext uri="{FF2B5EF4-FFF2-40B4-BE49-F238E27FC236}">
                <a16:creationId xmlns:a16="http://schemas.microsoft.com/office/drawing/2014/main" id="{5BAC2C82-2D1F-48E4-9974-33C3482323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9627"/>
            <a:ext cx="11704638" cy="7322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6901" y="5330190"/>
            <a:ext cx="10510838" cy="674688"/>
          </a:xfrm>
        </p:spPr>
        <p:txBody>
          <a:bodyPr anchor="t" anchorCtr="1">
            <a:no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lt"/>
              </a:defRPr>
            </a:lvl1pPr>
            <a:lvl2pPr marL="585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70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55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40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25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11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96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81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307D31D-1F84-4FD4-A75E-6F5A477E2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899" y="4655502"/>
            <a:ext cx="10510838" cy="674688"/>
          </a:xfrm>
        </p:spPr>
        <p:txBody>
          <a:bodyPr lIns="0" tIns="0" rIns="0" bIns="0">
            <a:noAutofit/>
          </a:bodyPr>
          <a:lstStyle>
            <a:lvl1pPr marL="0" marR="0" indent="0" algn="ctr" defTabSz="1170281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799" b="1" kern="1200" dirty="0">
                <a:solidFill>
                  <a:schemeClr val="bg1"/>
                </a:soli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 dirty="0"/>
              <a:t>Heading Sky text 2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9900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542112" y="6096475"/>
            <a:ext cx="620416" cy="256678"/>
          </a:xfrm>
          <a:prstGeom prst="rect">
            <a:avLst/>
          </a:prstGeom>
          <a:noFill/>
        </p:spPr>
        <p:txBody>
          <a:bodyPr wrap="square" lIns="117034" tIns="58518" rIns="117034" bIns="58518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pic>
        <p:nvPicPr>
          <p:cNvPr id="6" name="Picture 5" descr="Sky Logo">
            <a:extLst>
              <a:ext uri="{FF2B5EF4-FFF2-40B4-BE49-F238E27FC236}">
                <a16:creationId xmlns:a16="http://schemas.microsoft.com/office/drawing/2014/main" id="{DA6E8290-73AE-5746-A428-DAA405069E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167" y="5766517"/>
            <a:ext cx="761571" cy="46529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3D9D02-B47B-CD40-9AB9-9E26D3B43D90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1D973A7-12EC-C038-3910-5F5A54ED11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71" y="1139400"/>
            <a:ext cx="11635418" cy="5431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91058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1" y="208007"/>
            <a:ext cx="10510839" cy="1017588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Bef>
                <a:spcPts val="0"/>
              </a:spcBef>
              <a:defRPr sz="2799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542112" y="6096475"/>
            <a:ext cx="620416" cy="256678"/>
          </a:xfrm>
          <a:prstGeom prst="rect">
            <a:avLst/>
          </a:prstGeom>
          <a:noFill/>
        </p:spPr>
        <p:txBody>
          <a:bodyPr wrap="square" lIns="117034" tIns="58518" rIns="117034" bIns="58518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9250D2-3826-CC4F-B7E6-E16F831C1489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55660293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6900" y="4637088"/>
            <a:ext cx="10510838" cy="677862"/>
          </a:xfrm>
        </p:spPr>
        <p:txBody>
          <a:bodyPr anchor="b" anchorCtr="1">
            <a:noAutofit/>
          </a:bodyPr>
          <a:lstStyle>
            <a:lvl1pPr algn="ctr">
              <a:defRPr sz="2800">
                <a:solidFill>
                  <a:srgbClr val="21429C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6901" y="5330190"/>
            <a:ext cx="10510838" cy="674688"/>
          </a:xfrm>
          <a:noFill/>
        </p:spPr>
        <p:txBody>
          <a:bodyPr anchor="t" anchorCtr="1">
            <a:noAutofit/>
          </a:bodyPr>
          <a:lstStyle>
            <a:lvl1pPr marL="0" indent="0" algn="ctr">
              <a:buNone/>
              <a:defRPr sz="2000">
                <a:solidFill>
                  <a:srgbClr val="323232"/>
                </a:solidFill>
                <a:latin typeface="+mn-lt"/>
              </a:defRPr>
            </a:lvl1pPr>
            <a:lvl2pPr marL="585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70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55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40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11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96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81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8" name="Picture 7" descr="Sky Logo">
            <a:extLst>
              <a:ext uri="{FF2B5EF4-FFF2-40B4-BE49-F238E27FC236}">
                <a16:creationId xmlns:a16="http://schemas.microsoft.com/office/drawing/2014/main" id="{1B0ACC0B-ACA5-8645-804C-356A9393B9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663" y="1153625"/>
            <a:ext cx="5769312" cy="3524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053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6901" y="1617027"/>
            <a:ext cx="10510838" cy="405447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00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00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00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0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CDFB65D-4EFA-3243-A06D-241117D58F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901" y="584200"/>
            <a:ext cx="10510838" cy="1017588"/>
          </a:xfrm>
        </p:spPr>
        <p:txBody>
          <a:bodyPr/>
          <a:lstStyle>
            <a:lvl1pPr>
              <a:lnSpc>
                <a:spcPts val="3000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pic>
        <p:nvPicPr>
          <p:cNvPr id="10" name="Picture 9" descr="Sky Logo">
            <a:extLst>
              <a:ext uri="{FF2B5EF4-FFF2-40B4-BE49-F238E27FC236}">
                <a16:creationId xmlns:a16="http://schemas.microsoft.com/office/drawing/2014/main" id="{52EA1D35-F1A5-9549-9CCA-8F7CEE09B2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166" y="5766516"/>
            <a:ext cx="761571" cy="46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48996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6901" y="1617027"/>
            <a:ext cx="10510838" cy="405447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00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00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00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0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112C6-EAA0-0748-9F65-5DBF3A62CA45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CDFB65D-4EFA-3243-A06D-241117D58F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901" y="584200"/>
            <a:ext cx="10510838" cy="1017588"/>
          </a:xfrm>
        </p:spPr>
        <p:txBody>
          <a:bodyPr/>
          <a:lstStyle>
            <a:lvl1pPr>
              <a:lnSpc>
                <a:spcPts val="3000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653991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1" y="584200"/>
            <a:ext cx="10510838" cy="1017588"/>
          </a:xfrm>
        </p:spPr>
        <p:txBody>
          <a:bodyPr/>
          <a:lstStyle>
            <a:lvl1pPr>
              <a:lnSpc>
                <a:spcPts val="3000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96900" y="1617029"/>
            <a:ext cx="5139592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973763" y="1617029"/>
            <a:ext cx="5133975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 descr="Sky Logo">
            <a:extLst>
              <a:ext uri="{FF2B5EF4-FFF2-40B4-BE49-F238E27FC236}">
                <a16:creationId xmlns:a16="http://schemas.microsoft.com/office/drawing/2014/main" id="{94BB4579-8471-5348-B1AD-A8C1D58EB2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166" y="5766516"/>
            <a:ext cx="761571" cy="46529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4ADB4E9-A5E4-E247-8477-A92761FB76AF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909492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953B32-5941-5240-BE3B-FEA0D9D21B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845629" y="-1"/>
            <a:ext cx="5859009" cy="65833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Drag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1" y="584200"/>
            <a:ext cx="5139591" cy="1017588"/>
          </a:xfrm>
        </p:spPr>
        <p:txBody>
          <a:bodyPr/>
          <a:lstStyle>
            <a:lvl1pPr>
              <a:lnSpc>
                <a:spcPts val="3000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96900" y="1617029"/>
            <a:ext cx="5139592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20F6A7D-3E4B-5241-94AF-CF8EB9FCB6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629352-6E2F-AA42-B7BC-05B4A7160715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11780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000"/>
              </a:lnSpc>
              <a:spcBef>
                <a:spcPts val="0"/>
              </a:spcBef>
              <a:defRPr sz="2800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ky Logo">
            <a:extLst>
              <a:ext uri="{FF2B5EF4-FFF2-40B4-BE49-F238E27FC236}">
                <a16:creationId xmlns:a16="http://schemas.microsoft.com/office/drawing/2014/main" id="{37BEB63D-115C-5044-A4B5-E356A8C012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166" y="5766516"/>
            <a:ext cx="761571" cy="46529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69250D2-3826-CC4F-B7E6-E16F831C1489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26789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pic>
        <p:nvPicPr>
          <p:cNvPr id="6" name="Picture 5" descr="Sky Logo">
            <a:extLst>
              <a:ext uri="{FF2B5EF4-FFF2-40B4-BE49-F238E27FC236}">
                <a16:creationId xmlns:a16="http://schemas.microsoft.com/office/drawing/2014/main" id="{DA6E8290-73AE-5746-A428-DAA405069E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166" y="5766516"/>
            <a:ext cx="761571" cy="46529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D3D9D02-B47B-CD40-9AB9-9E26D3B43D90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69434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1" y="584200"/>
            <a:ext cx="10510838" cy="1017588"/>
          </a:xfrm>
        </p:spPr>
        <p:txBody>
          <a:bodyPr lIns="0" tIns="0" rIns="0" bIns="0">
            <a:noAutofit/>
          </a:bodyPr>
          <a:lstStyle>
            <a:lvl1pPr marL="0" marR="0" indent="0" algn="l" defTabSz="1170356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800" kern="1200" dirty="0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6901" y="1617027"/>
            <a:ext cx="10510838" cy="4054476"/>
          </a:xfrm>
        </p:spPr>
        <p:txBody>
          <a:bodyPr lIns="0" tIns="0" rIns="0" bIns="0"/>
          <a:lstStyle>
            <a:lvl1pPr>
              <a:buClr>
                <a:srgbClr val="0644A1"/>
              </a:buClr>
              <a:defRPr sz="1800">
                <a:solidFill>
                  <a:srgbClr val="323232"/>
                </a:solidFill>
              </a:defRPr>
            </a:lvl1pPr>
            <a:lvl2pPr>
              <a:buClr>
                <a:srgbClr val="0644A1"/>
              </a:buClr>
              <a:defRPr sz="1600">
                <a:solidFill>
                  <a:srgbClr val="323232"/>
                </a:solidFill>
              </a:defRPr>
            </a:lvl2pPr>
            <a:lvl3pPr>
              <a:buClr>
                <a:srgbClr val="0644A1"/>
              </a:buClr>
              <a:defRPr sz="1400">
                <a:solidFill>
                  <a:srgbClr val="323232"/>
                </a:solidFill>
              </a:defRPr>
            </a:lvl3pPr>
            <a:lvl4pPr>
              <a:buClr>
                <a:srgbClr val="0644A1"/>
              </a:buClr>
              <a:defRPr sz="1200">
                <a:solidFill>
                  <a:srgbClr val="323232"/>
                </a:solidFill>
              </a:defRPr>
            </a:lvl4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0BD964-F2E2-E946-97AD-53CD448707E5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21153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1" y="584200"/>
            <a:ext cx="10510838" cy="1017588"/>
          </a:xfrm>
        </p:spPr>
        <p:txBody>
          <a:bodyPr/>
          <a:lstStyle>
            <a:lvl1pPr>
              <a:lnSpc>
                <a:spcPts val="3000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96900" y="1617029"/>
            <a:ext cx="5139592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973763" y="1617029"/>
            <a:ext cx="5133975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1414DD-F1FF-C843-903F-988C0A8FD14F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33807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000"/>
              </a:lnSpc>
              <a:spcBef>
                <a:spcPts val="0"/>
              </a:spcBef>
              <a:defRPr sz="2800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0BB793-F845-5640-9F18-1F2FF8B8C14E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8760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FFB51EE-244D-0749-8FE7-11C5C387FCAF}"/>
              </a:ext>
            </a:extLst>
          </p:cNvPr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A0EA18-594C-D34F-A484-C0048D877BA7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85350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" y="0"/>
            <a:ext cx="11704639" cy="658336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65226078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22ECAF-592E-2742-A8B4-BAFECA80D3A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5845630" cy="658336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Drag image her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F689F95-F7B2-F94C-88BE-7B8EC3E04C0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845629" y="0"/>
            <a:ext cx="5859009" cy="658336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274297223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1" y="584200"/>
            <a:ext cx="10510838" cy="1017588"/>
          </a:xfrm>
        </p:spPr>
        <p:txBody>
          <a:bodyPr/>
          <a:lstStyle>
            <a:lvl1pPr>
              <a:lnSpc>
                <a:spcPts val="3000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96900" y="1617029"/>
            <a:ext cx="5139592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973763" y="1617029"/>
            <a:ext cx="5133975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38A737-86D3-D248-994C-31E28E338663}"/>
              </a:ext>
            </a:extLst>
          </p:cNvPr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 descr="Sky Logo">
            <a:extLst>
              <a:ext uri="{FF2B5EF4-FFF2-40B4-BE49-F238E27FC236}">
                <a16:creationId xmlns:a16="http://schemas.microsoft.com/office/drawing/2014/main" id="{94BB4579-8471-5348-B1AD-A8C1D58EB2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166" y="5766516"/>
            <a:ext cx="761571" cy="46529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4ADB4E9-A5E4-E247-8477-A92761FB76AF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0650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lacehol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50E749BF-9C93-1247-825E-08855363E87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2" y="-1"/>
            <a:ext cx="5859009" cy="329020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Drag image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76C71CA-4204-2E40-9A5A-093606814E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859008" y="-1"/>
            <a:ext cx="5845630" cy="329020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Drag image he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E386B42-295A-7D4E-9ECF-3804A4D9A78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3290206"/>
            <a:ext cx="5859008" cy="329020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Drag image he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5796028E-C9FE-1F4D-BC03-0EC6AFA34E5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59008" y="3290206"/>
            <a:ext cx="5845630" cy="329020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Drag image here</a:t>
            </a:r>
          </a:p>
        </p:txBody>
      </p:sp>
    </p:spTree>
    <p:extLst>
      <p:ext uri="{BB962C8B-B14F-4D97-AF65-F5344CB8AC3E}">
        <p14:creationId xmlns:p14="http://schemas.microsoft.com/office/powerpoint/2010/main" val="407029856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511538D-00A3-974D-BC1A-AF082FBC3A8C}"/>
              </a:ext>
            </a:extLst>
          </p:cNvPr>
          <p:cNvSpPr/>
          <p:nvPr userDrawn="1"/>
        </p:nvSpPr>
        <p:spPr>
          <a:xfrm>
            <a:off x="285749" y="281781"/>
            <a:ext cx="11133139" cy="6019801"/>
          </a:xfrm>
          <a:prstGeom prst="rect">
            <a:avLst/>
          </a:prstGeom>
          <a:gradFill>
            <a:gsLst>
              <a:gs pos="0">
                <a:srgbClr val="FFEB00"/>
              </a:gs>
              <a:gs pos="100000">
                <a:srgbClr val="FF6400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0" y="2953127"/>
            <a:ext cx="10510839" cy="677108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89218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A091BE-5AB4-8842-A985-C26B3FAE0987}"/>
              </a:ext>
            </a:extLst>
          </p:cNvPr>
          <p:cNvSpPr/>
          <p:nvPr userDrawn="1"/>
        </p:nvSpPr>
        <p:spPr>
          <a:xfrm>
            <a:off x="285749" y="281781"/>
            <a:ext cx="11133139" cy="6019801"/>
          </a:xfrm>
          <a:prstGeom prst="rect">
            <a:avLst/>
          </a:prstGeom>
          <a:gradFill>
            <a:gsLst>
              <a:gs pos="0">
                <a:srgbClr val="FF6400"/>
              </a:gs>
              <a:gs pos="10000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874CD87-BA88-3C46-9011-B0FD0A28F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900" y="2953127"/>
            <a:ext cx="10510839" cy="677108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32284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2356CD-5F6B-ED44-8AF2-F5EE86C948B6}"/>
              </a:ext>
            </a:extLst>
          </p:cNvPr>
          <p:cNvSpPr/>
          <p:nvPr userDrawn="1"/>
        </p:nvSpPr>
        <p:spPr>
          <a:xfrm>
            <a:off x="285749" y="281781"/>
            <a:ext cx="11133139" cy="6019801"/>
          </a:xfrm>
          <a:prstGeom prst="rect">
            <a:avLst/>
          </a:prstGeom>
          <a:gradFill>
            <a:gsLst>
              <a:gs pos="100000">
                <a:srgbClr val="6E00FF"/>
              </a:gs>
              <a:gs pos="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2E79A0D-5A92-6549-A3BA-FB6C2A5E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900" y="2953127"/>
            <a:ext cx="10510839" cy="677108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45106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77F02F-D94C-954F-A8E9-DFC6F146690A}"/>
              </a:ext>
            </a:extLst>
          </p:cNvPr>
          <p:cNvSpPr/>
          <p:nvPr userDrawn="1"/>
        </p:nvSpPr>
        <p:spPr>
          <a:xfrm>
            <a:off x="285749" y="281781"/>
            <a:ext cx="11133139" cy="6019801"/>
          </a:xfrm>
          <a:prstGeom prst="rect">
            <a:avLst/>
          </a:prstGeom>
          <a:gradFill>
            <a:gsLst>
              <a:gs pos="0">
                <a:srgbClr val="6E00FF"/>
              </a:gs>
              <a:gs pos="100000">
                <a:srgbClr val="00FFDC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4C2F201-3E04-6F4A-A8AC-904D535903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900" y="2953127"/>
            <a:ext cx="10510839" cy="677108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Title Sky text 44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26813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073">
          <p15:clr>
            <a:srgbClr val="FBAE40"/>
          </p15:clr>
        </p15:guide>
        <p15:guide id="2" pos="368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628F29B-AB1C-4872-ADF1-19D60C06DE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B7BB8112-6A90-4233-90C9-6A0F49D62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3E446-F9D9-4238-B033-81E32681088C}" type="datetimeFigureOut">
              <a:rPr lang="it-IT" smtClean="0"/>
              <a:t>07/06/2024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F8E3B21-733E-4421-A21C-76DA18972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46B6F2B2-1987-4330-AB16-64D58BC0A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B9F7D-F38C-48C3-BC22-7FDE28DC9E2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525404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1227" y="1773769"/>
            <a:ext cx="5365640" cy="4041535"/>
          </a:xfrm>
        </p:spPr>
        <p:txBody>
          <a:bodyPr rIns="0"/>
          <a:lstStyle>
            <a:lvl1pPr>
              <a:lnSpc>
                <a:spcPct val="70000"/>
              </a:lnSpc>
              <a:defRPr sz="4864" cap="all" baseline="0"/>
            </a:lvl1pPr>
          </a:lstStyle>
          <a:p>
            <a:r>
              <a:rPr lang="en-US"/>
              <a:t>SECTION INTR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026060" y="1693083"/>
            <a:ext cx="5355482" cy="41222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dirty="0" smtClean="0"/>
            </a:lvl1pPr>
            <a:lvl2pPr>
              <a:spcBef>
                <a:spcPts val="768"/>
              </a:spcBef>
              <a:defRPr lang="en-US" dirty="0" smtClean="0">
                <a:latin typeface="+mn-lt"/>
              </a:defRPr>
            </a:lvl2pPr>
            <a:lvl3pPr>
              <a:spcBef>
                <a:spcPts val="768"/>
              </a:spcBef>
              <a:defRPr lang="en-US" dirty="0" smtClean="0">
                <a:latin typeface="+mn-lt"/>
              </a:defRPr>
            </a:lvl3pPr>
            <a:lvl4pPr>
              <a:spcBef>
                <a:spcPts val="768"/>
              </a:spcBef>
              <a:defRPr lang="en-US" dirty="0" smtClean="0">
                <a:latin typeface="+mn-lt"/>
              </a:defRPr>
            </a:lvl4pPr>
            <a:lvl5pPr>
              <a:spcBef>
                <a:spcPts val="768"/>
              </a:spcBef>
              <a:defRPr lang="en-US" dirty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662683B2-4181-7B4D-8064-F6D50AFCC7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69076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1225" y="344594"/>
            <a:ext cx="11049132" cy="865681"/>
          </a:xfrm>
        </p:spPr>
        <p:txBody>
          <a:bodyPr/>
          <a:lstStyle>
            <a:lvl1pPr>
              <a:lnSpc>
                <a:spcPct val="80000"/>
              </a:lnSpc>
              <a:defRPr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1785" y="1693083"/>
            <a:ext cx="11049132" cy="4379765"/>
          </a:xfrm>
        </p:spPr>
        <p:txBody>
          <a:bodyPr>
            <a:noAutofit/>
          </a:bodyPr>
          <a:lstStyle>
            <a:lvl1pPr>
              <a:spcBef>
                <a:spcPts val="768"/>
              </a:spcBef>
              <a:defRPr baseline="0"/>
            </a:lvl1pPr>
            <a:lvl2pPr>
              <a:spcBef>
                <a:spcPts val="768"/>
              </a:spcBef>
              <a:defRPr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768"/>
              </a:spcBef>
              <a:defRPr>
                <a:solidFill>
                  <a:schemeClr val="tx1"/>
                </a:solidFill>
                <a:latin typeface="+mn-lt"/>
              </a:defRPr>
            </a:lvl3pPr>
            <a:lvl4pPr>
              <a:spcBef>
                <a:spcPts val="768"/>
              </a:spcBef>
              <a:defRPr>
                <a:solidFill>
                  <a:schemeClr val="tx1"/>
                </a:solidFill>
                <a:latin typeface="+mn-lt"/>
              </a:defRPr>
            </a:lvl4pPr>
            <a:lvl5pPr>
              <a:spcBef>
                <a:spcPts val="768"/>
              </a:spcBef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9598CFF-9C3B-8B46-8615-3593496E5E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85807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1225" y="344595"/>
            <a:ext cx="7449139" cy="998677"/>
          </a:xfrm>
        </p:spPr>
        <p:txBody>
          <a:bodyPr/>
          <a:lstStyle>
            <a:lvl1pPr>
              <a:lnSpc>
                <a:spcPct val="80000"/>
              </a:lnSpc>
              <a:defRPr baseline="0"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331785" y="1693083"/>
            <a:ext cx="7449139" cy="4379765"/>
          </a:xfrm>
        </p:spPr>
        <p:txBody>
          <a:bodyPr>
            <a:noAutofit/>
          </a:bodyPr>
          <a:lstStyle>
            <a:lvl1pPr>
              <a:spcBef>
                <a:spcPts val="768"/>
              </a:spcBef>
              <a:defRPr baseline="0"/>
            </a:lvl1pPr>
            <a:lvl2pPr>
              <a:spcBef>
                <a:spcPts val="768"/>
              </a:spcBef>
              <a:defRPr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768"/>
              </a:spcBef>
              <a:defRPr>
                <a:solidFill>
                  <a:schemeClr val="tx1"/>
                </a:solidFill>
                <a:latin typeface="+mn-lt"/>
              </a:defRPr>
            </a:lvl3pPr>
            <a:lvl4pPr>
              <a:spcBef>
                <a:spcPts val="768"/>
              </a:spcBef>
              <a:defRPr>
                <a:solidFill>
                  <a:schemeClr val="tx1"/>
                </a:solidFill>
                <a:latin typeface="+mn-lt"/>
              </a:defRPr>
            </a:lvl4pPr>
            <a:lvl5pPr>
              <a:spcBef>
                <a:spcPts val="768"/>
              </a:spcBef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9598CFF-9C3B-8B46-8615-3593496E5E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33665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1227" y="1693083"/>
            <a:ext cx="5365640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dirty="0" smtClean="0"/>
            </a:lvl1pPr>
            <a:lvl2pPr>
              <a:spcBef>
                <a:spcPts val="768"/>
              </a:spcBef>
              <a:defRPr lang="en-US" sz="1536" dirty="0" smtClean="0"/>
            </a:lvl2pPr>
            <a:lvl3pPr>
              <a:spcBef>
                <a:spcPts val="768"/>
              </a:spcBef>
              <a:defRPr lang="en-US" sz="1536" dirty="0" smtClean="0"/>
            </a:lvl3pPr>
            <a:lvl4pPr>
              <a:spcBef>
                <a:spcPts val="768"/>
              </a:spcBef>
              <a:defRPr lang="en-US" sz="1536" dirty="0" smtClean="0"/>
            </a:lvl4pPr>
            <a:lvl5pPr>
              <a:spcBef>
                <a:spcPts val="768"/>
              </a:spcBef>
              <a:defRPr lang="en-US" sz="1536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26060" y="1693084"/>
            <a:ext cx="5355482" cy="4379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/>
            </a:lvl1pPr>
            <a:lvl2pPr>
              <a:spcBef>
                <a:spcPts val="768"/>
              </a:spcBef>
              <a:defRPr lang="en-US" sz="1536" b="0" dirty="0" smtClean="0"/>
            </a:lvl2pPr>
            <a:lvl3pPr>
              <a:spcBef>
                <a:spcPts val="768"/>
              </a:spcBef>
              <a:defRPr lang="en-US" sz="1536" b="0" dirty="0" smtClean="0"/>
            </a:lvl3pPr>
            <a:lvl4pPr>
              <a:spcBef>
                <a:spcPts val="768"/>
              </a:spcBef>
              <a:defRPr lang="en-US" sz="1536" b="0" dirty="0" smtClean="0"/>
            </a:lvl4pPr>
            <a:lvl5pPr>
              <a:spcBef>
                <a:spcPts val="768"/>
              </a:spcBef>
              <a:defRPr lang="en-US" sz="1536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F9C99DB8-5B80-2D48-9B9A-5C85044377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90968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3953B32-5941-5240-BE3B-FEA0D9D21B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845629" y="-1"/>
            <a:ext cx="5859009" cy="6583364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Drag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1" y="584200"/>
            <a:ext cx="5139591" cy="1017588"/>
          </a:xfrm>
        </p:spPr>
        <p:txBody>
          <a:bodyPr/>
          <a:lstStyle>
            <a:lvl1pPr>
              <a:lnSpc>
                <a:spcPts val="3000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96900" y="1617029"/>
            <a:ext cx="5139592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20F6A7D-3E4B-5241-94AF-CF8EB9FCB6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629352-6E2F-AA42-B7BC-05B4A7160715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84179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1226" y="1693098"/>
            <a:ext cx="3440230" cy="43797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dirty="0" smtClean="0"/>
            </a:lvl1pPr>
            <a:lvl2pPr>
              <a:spcBef>
                <a:spcPts val="768"/>
              </a:spcBef>
              <a:defRPr lang="en-US" sz="1536" dirty="0" smtClean="0">
                <a:latin typeface="+mn-lt"/>
              </a:defRPr>
            </a:lvl2pPr>
            <a:lvl3pPr>
              <a:spcBef>
                <a:spcPts val="768"/>
              </a:spcBef>
              <a:defRPr lang="en-US" sz="1536" dirty="0" smtClean="0">
                <a:latin typeface="+mn-lt"/>
              </a:defRPr>
            </a:lvl3pPr>
            <a:lvl4pPr>
              <a:spcBef>
                <a:spcPts val="768"/>
              </a:spcBef>
              <a:defRPr lang="en-US" sz="1536" dirty="0" smtClean="0">
                <a:latin typeface="+mn-lt"/>
              </a:defRPr>
            </a:lvl4pPr>
            <a:lvl5pPr>
              <a:spcBef>
                <a:spcPts val="768"/>
              </a:spcBef>
              <a:defRPr lang="en-US" sz="1536" dirty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926605" y="1693083"/>
            <a:ext cx="3454936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/>
            </a:lvl1pPr>
            <a:lvl2pPr>
              <a:spcBef>
                <a:spcPts val="768"/>
              </a:spcBef>
              <a:defRPr lang="en-US" sz="1536" b="0" dirty="0" smtClean="0">
                <a:latin typeface="+mn-lt"/>
              </a:defRPr>
            </a:lvl2pPr>
            <a:lvl3pPr>
              <a:spcBef>
                <a:spcPts val="768"/>
              </a:spcBef>
              <a:defRPr lang="en-US" sz="1536" b="0" dirty="0" smtClean="0">
                <a:latin typeface="+mn-lt"/>
              </a:defRPr>
            </a:lvl3pPr>
            <a:lvl4pPr>
              <a:spcBef>
                <a:spcPts val="768"/>
              </a:spcBef>
              <a:defRPr lang="en-US" sz="1536" b="0" dirty="0" smtClean="0">
                <a:latin typeface="+mn-lt"/>
              </a:defRPr>
            </a:lvl4pPr>
            <a:lvl5pPr>
              <a:spcBef>
                <a:spcPts val="768"/>
              </a:spcBef>
              <a:defRPr lang="en-US" sz="1536" b="0" dirty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100648" y="1693083"/>
            <a:ext cx="3496763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/>
            </a:lvl1pPr>
            <a:lvl2pPr>
              <a:spcBef>
                <a:spcPts val="768"/>
              </a:spcBef>
              <a:defRPr lang="en-US" sz="1536" b="0" dirty="0" smtClean="0">
                <a:latin typeface="+mn-lt"/>
              </a:defRPr>
            </a:lvl2pPr>
            <a:lvl3pPr>
              <a:spcBef>
                <a:spcPts val="768"/>
              </a:spcBef>
              <a:defRPr lang="en-US" sz="1536" b="0" dirty="0" smtClean="0">
                <a:latin typeface="+mn-lt"/>
              </a:defRPr>
            </a:lvl3pPr>
            <a:lvl4pPr>
              <a:spcBef>
                <a:spcPts val="768"/>
              </a:spcBef>
              <a:defRPr lang="en-US" sz="1536" b="0" dirty="0" smtClean="0">
                <a:latin typeface="+mn-lt"/>
              </a:defRPr>
            </a:lvl4pPr>
            <a:lvl5pPr>
              <a:spcBef>
                <a:spcPts val="768"/>
              </a:spcBef>
              <a:defRPr lang="en-US" sz="1536" b="0" dirty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A283B486-BF94-5A42-B320-5C5AD43968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20744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82199" y="1693083"/>
            <a:ext cx="2514668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/>
            </a:lvl1pPr>
            <a:lvl2pPr>
              <a:spcBef>
                <a:spcPts val="768"/>
              </a:spcBef>
              <a:defRPr lang="en-US" sz="1536" b="0" dirty="0" smtClean="0"/>
            </a:lvl2pPr>
            <a:lvl3pPr>
              <a:spcBef>
                <a:spcPts val="768"/>
              </a:spcBef>
              <a:defRPr lang="en-US" sz="1536" b="0" dirty="0" smtClean="0"/>
            </a:lvl3pPr>
            <a:lvl4pPr>
              <a:spcBef>
                <a:spcPts val="768"/>
              </a:spcBef>
              <a:defRPr lang="en-US" sz="1536" b="0" dirty="0" smtClean="0"/>
            </a:lvl4pPr>
            <a:lvl5pPr>
              <a:spcBef>
                <a:spcPts val="768"/>
              </a:spcBef>
              <a:defRPr lang="en-US" sz="1536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31224" y="1693083"/>
            <a:ext cx="2521781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/>
            </a:lvl1pPr>
            <a:lvl2pPr>
              <a:spcBef>
                <a:spcPts val="768"/>
              </a:spcBef>
              <a:defRPr lang="en-US" sz="1536" b="0" dirty="0" smtClean="0"/>
            </a:lvl2pPr>
            <a:lvl3pPr>
              <a:spcBef>
                <a:spcPts val="768"/>
              </a:spcBef>
              <a:defRPr lang="en-US" sz="1536" b="0" dirty="0" smtClean="0"/>
            </a:lvl3pPr>
            <a:lvl4pPr>
              <a:spcBef>
                <a:spcPts val="768"/>
              </a:spcBef>
              <a:defRPr lang="en-US" sz="1536" b="0" dirty="0" smtClean="0"/>
            </a:lvl4pPr>
            <a:lvl5pPr>
              <a:spcBef>
                <a:spcPts val="768"/>
              </a:spcBef>
              <a:defRPr lang="en-US" sz="1536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69921" y="1693083"/>
            <a:ext cx="2511620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/>
            </a:lvl1pPr>
            <a:lvl2pPr>
              <a:spcBef>
                <a:spcPts val="768"/>
              </a:spcBef>
              <a:defRPr lang="en-US" sz="1536" b="0" dirty="0" smtClean="0"/>
            </a:lvl2pPr>
            <a:lvl3pPr>
              <a:spcBef>
                <a:spcPts val="768"/>
              </a:spcBef>
              <a:defRPr lang="en-US" sz="1536" b="0" dirty="0" smtClean="0"/>
            </a:lvl3pPr>
            <a:lvl4pPr>
              <a:spcBef>
                <a:spcPts val="768"/>
              </a:spcBef>
              <a:defRPr lang="en-US" sz="1536" b="0" dirty="0" smtClean="0"/>
            </a:lvl4pPr>
            <a:lvl5pPr>
              <a:spcBef>
                <a:spcPts val="768"/>
              </a:spcBef>
              <a:defRPr lang="en-US" sz="1536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026060" y="1693083"/>
            <a:ext cx="2514667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/>
            </a:lvl1pPr>
            <a:lvl2pPr>
              <a:spcBef>
                <a:spcPts val="768"/>
              </a:spcBef>
              <a:defRPr lang="en-US" sz="1536" b="0" dirty="0" smtClean="0"/>
            </a:lvl2pPr>
            <a:lvl3pPr>
              <a:spcBef>
                <a:spcPts val="768"/>
              </a:spcBef>
              <a:defRPr lang="en-US" sz="1536" b="0" dirty="0" smtClean="0"/>
            </a:lvl3pPr>
            <a:lvl4pPr>
              <a:spcBef>
                <a:spcPts val="768"/>
              </a:spcBef>
              <a:defRPr lang="en-US" sz="1536" b="0" dirty="0" smtClean="0"/>
            </a:lvl4pPr>
            <a:lvl5pPr>
              <a:spcBef>
                <a:spcPts val="768"/>
              </a:spcBef>
              <a:defRPr lang="en-US" sz="1536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76DB1811-27CD-1E43-BB9C-6BCE7DCF04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4718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content (chart,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608702" y="1693083"/>
            <a:ext cx="6772839" cy="437976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768"/>
              </a:spcBef>
              <a:defRPr sz="1536"/>
            </a:lvl1pPr>
            <a:lvl2pPr>
              <a:spcBef>
                <a:spcPts val="768"/>
              </a:spcBef>
              <a:defRPr sz="1536"/>
            </a:lvl2pPr>
            <a:lvl3pPr>
              <a:spcBef>
                <a:spcPts val="768"/>
              </a:spcBef>
              <a:defRPr sz="1536"/>
            </a:lvl3pPr>
            <a:lvl4pPr>
              <a:spcBef>
                <a:spcPts val="768"/>
              </a:spcBef>
              <a:defRPr sz="1536"/>
            </a:lvl4pPr>
            <a:lvl5pPr>
              <a:spcBef>
                <a:spcPts val="768"/>
              </a:spcBef>
              <a:defRPr sz="153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31225" y="1693083"/>
            <a:ext cx="3939139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/>
            </a:lvl1pPr>
            <a:lvl2pPr>
              <a:spcBef>
                <a:spcPts val="768"/>
              </a:spcBef>
              <a:defRPr lang="en-US" sz="1536" b="0" dirty="0" smtClean="0"/>
            </a:lvl2pPr>
            <a:lvl3pPr>
              <a:spcBef>
                <a:spcPts val="768"/>
              </a:spcBef>
              <a:defRPr lang="en-US" sz="1536" b="0" dirty="0" smtClean="0"/>
            </a:lvl3pPr>
            <a:lvl4pPr>
              <a:spcBef>
                <a:spcPts val="768"/>
              </a:spcBef>
              <a:defRPr lang="en-US" sz="1536" b="0" dirty="0" smtClean="0"/>
            </a:lvl4pPr>
            <a:lvl5pPr>
              <a:spcBef>
                <a:spcPts val="768"/>
              </a:spcBef>
              <a:defRPr lang="en-US" sz="1536" b="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71D6CB2-33EE-8247-B57F-2FF3DECE09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09338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31784" y="343753"/>
            <a:ext cx="11064997" cy="986219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B08116D-8D62-7347-AAA4-53880CA69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7740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28049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- Colour">
    <p:bg>
      <p:bgPr>
        <a:gradFill flip="none" rotWithShape="1">
          <a:gsLst>
            <a:gs pos="50000">
              <a:schemeClr val="accent1"/>
            </a:gs>
            <a:gs pos="0">
              <a:srgbClr val="A025FB"/>
            </a:gs>
            <a:gs pos="100000">
              <a:srgbClr val="3333AD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FA902AB6-2BD3-7141-8CF2-592ED3E225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5BDF18-9B6F-F842-A99E-EFBBC612F8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5620264-E2E7-CF42-8E9F-8076C89B1A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901" y="1098980"/>
            <a:ext cx="6425882" cy="1017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z="6912"/>
              <a:t>section TITI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1A97E3-7CAC-9D4E-8788-8BF8CA2F30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424" y="2593723"/>
            <a:ext cx="5228987" cy="984457"/>
          </a:xfrm>
        </p:spPr>
        <p:txBody>
          <a:bodyPr>
            <a:normAutofit/>
          </a:bodyPr>
          <a:lstStyle>
            <a:lvl1pPr>
              <a:defRPr sz="3072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8169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 - Colour">
    <p:bg>
      <p:bgPr>
        <a:gradFill flip="none" rotWithShape="1">
          <a:gsLst>
            <a:gs pos="0">
              <a:srgbClr val="00A8FF"/>
            </a:gs>
            <a:gs pos="100000">
              <a:srgbClr val="7500C0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C989D233-ADA3-A14D-AFD3-4B00CB9973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89920-791E-ED41-93AA-7C1BEF9294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DFBB5EE-1466-A648-B3AB-7F9978B20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901" y="1098980"/>
            <a:ext cx="6425882" cy="1017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z="6912"/>
              <a:t>section TITI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A9E75F7-B72A-F94A-A1D3-50EF1E7851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424" y="2593723"/>
            <a:ext cx="5228987" cy="984457"/>
          </a:xfrm>
        </p:spPr>
        <p:txBody>
          <a:bodyPr>
            <a:normAutofit/>
          </a:bodyPr>
          <a:lstStyle>
            <a:lvl1pPr>
              <a:defRPr sz="3072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49900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Break - Colour">
    <p:bg>
      <p:bgPr>
        <a:gradFill>
          <a:gsLst>
            <a:gs pos="0">
              <a:srgbClr val="00A8FF"/>
            </a:gs>
            <a:gs pos="100000">
              <a:srgbClr val="7500C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A03E165-D266-F148-8BD0-343E06CCC471}"/>
              </a:ext>
            </a:extLst>
          </p:cNvPr>
          <p:cNvSpPr/>
          <p:nvPr userDrawn="1"/>
        </p:nvSpPr>
        <p:spPr>
          <a:xfrm>
            <a:off x="0" y="0"/>
            <a:ext cx="11704638" cy="6583363"/>
          </a:xfrm>
          <a:prstGeom prst="rect">
            <a:avLst/>
          </a:prstGeom>
          <a:gradFill flip="none" rotWithShape="1">
            <a:gsLst>
              <a:gs pos="65000">
                <a:srgbClr val="B73CFD"/>
              </a:gs>
              <a:gs pos="0">
                <a:schemeClr val="accent2"/>
              </a:gs>
              <a:gs pos="99000">
                <a:srgbClr val="D13CFD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08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C989D233-ADA3-A14D-AFD3-4B00CB9973A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E7E7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89920-791E-ED41-93AA-7C1BEF9294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DFBB5EE-1466-A648-B3AB-7F9978B20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901" y="1098980"/>
            <a:ext cx="6425882" cy="1017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z="6912"/>
              <a:t>section TITI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A9E75F7-B72A-F94A-A1D3-50EF1E7851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7424" y="2593723"/>
            <a:ext cx="5228987" cy="984457"/>
          </a:xfrm>
        </p:spPr>
        <p:txBody>
          <a:bodyPr>
            <a:normAutofit/>
          </a:bodyPr>
          <a:lstStyle>
            <a:lvl1pPr>
              <a:defRPr sz="3072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ECTION 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1902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Columns">
    <p:bg>
      <p:bgPr>
        <a:gradFill>
          <a:gsLst>
            <a:gs pos="0">
              <a:schemeClr val="accent1"/>
            </a:gs>
            <a:gs pos="100000">
              <a:srgbClr val="3333AD"/>
            </a:gs>
          </a:gsLst>
          <a:lin ang="2064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182199" y="1693083"/>
            <a:ext cx="2514668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>
                <a:solidFill>
                  <a:schemeClr val="bg1"/>
                </a:solidFill>
              </a:defRPr>
            </a:lvl1pPr>
            <a:lvl2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2pPr>
            <a:lvl3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3pPr>
            <a:lvl4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4pPr>
            <a:lvl5pPr>
              <a:spcBef>
                <a:spcPts val="768"/>
              </a:spcBef>
              <a:defRPr lang="en-US" sz="1536" b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31224" y="1693083"/>
            <a:ext cx="2521781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>
                <a:solidFill>
                  <a:schemeClr val="bg1"/>
                </a:solidFill>
              </a:defRPr>
            </a:lvl1pPr>
            <a:lvl2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2pPr>
            <a:lvl3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3pPr>
            <a:lvl4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4pPr>
            <a:lvl5pPr>
              <a:spcBef>
                <a:spcPts val="768"/>
              </a:spcBef>
              <a:defRPr lang="en-US" sz="1536" b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869921" y="1693083"/>
            <a:ext cx="2511620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>
                <a:solidFill>
                  <a:schemeClr val="bg1"/>
                </a:solidFill>
              </a:defRPr>
            </a:lvl1pPr>
            <a:lvl2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2pPr>
            <a:lvl3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3pPr>
            <a:lvl4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4pPr>
            <a:lvl5pPr>
              <a:spcBef>
                <a:spcPts val="768"/>
              </a:spcBef>
              <a:defRPr lang="en-US" sz="1536" b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6026060" y="1693083"/>
            <a:ext cx="2514667" cy="4379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768"/>
              </a:spcBef>
              <a:defRPr lang="en-US" sz="1536" b="1" dirty="0" smtClean="0">
                <a:solidFill>
                  <a:schemeClr val="bg1"/>
                </a:solidFill>
              </a:defRPr>
            </a:lvl1pPr>
            <a:lvl2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2pPr>
            <a:lvl3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3pPr>
            <a:lvl4pPr>
              <a:spcBef>
                <a:spcPts val="768"/>
              </a:spcBef>
              <a:defRPr lang="en-US" sz="1536" b="0" dirty="0" smtClean="0">
                <a:solidFill>
                  <a:schemeClr val="bg1"/>
                </a:solidFill>
              </a:defRPr>
            </a:lvl4pPr>
            <a:lvl5pPr>
              <a:spcBef>
                <a:spcPts val="768"/>
              </a:spcBef>
              <a:defRPr lang="en-US" sz="1536" b="0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7114225" y="6257378"/>
            <a:ext cx="3950315" cy="13477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>
          <a:xfrm>
            <a:off x="11174175" y="6257378"/>
            <a:ext cx="207366" cy="134778"/>
          </a:xfrm>
          <a:prstGeom prst="rect">
            <a:avLst/>
          </a:prstGeom>
        </p:spPr>
        <p:txBody>
          <a:bodyPr/>
          <a:lstStyle/>
          <a:p>
            <a:fld id="{17D800ED-CB1B-4EBC-A0D2-2190AF4D8872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34766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75A01-7E21-1B40-B599-9F4056595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63080" y="1077416"/>
            <a:ext cx="8778479" cy="2291986"/>
          </a:xfrm>
        </p:spPr>
        <p:txBody>
          <a:bodyPr anchor="b"/>
          <a:lstStyle>
            <a:lvl1pPr algn="ctr">
              <a:defRPr sz="576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F136235-DD62-6944-A802-5DF79F20E8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63080" y="3457790"/>
            <a:ext cx="8778479" cy="1589455"/>
          </a:xfrm>
        </p:spPr>
        <p:txBody>
          <a:bodyPr/>
          <a:lstStyle>
            <a:lvl1pPr marL="0" indent="0" algn="ctr">
              <a:buNone/>
              <a:defRPr sz="2304"/>
            </a:lvl1pPr>
            <a:lvl2pPr marL="438912" indent="0" algn="ctr">
              <a:buNone/>
              <a:defRPr sz="1920"/>
            </a:lvl2pPr>
            <a:lvl3pPr marL="877824" indent="0" algn="ctr">
              <a:buNone/>
              <a:defRPr sz="1728"/>
            </a:lvl3pPr>
            <a:lvl4pPr marL="1316736" indent="0" algn="ctr">
              <a:buNone/>
              <a:defRPr sz="1536"/>
            </a:lvl4pPr>
            <a:lvl5pPr marL="1755648" indent="0" algn="ctr">
              <a:buNone/>
              <a:defRPr sz="1536"/>
            </a:lvl5pPr>
            <a:lvl6pPr marL="2194560" indent="0" algn="ctr">
              <a:buNone/>
              <a:defRPr sz="1536"/>
            </a:lvl6pPr>
            <a:lvl7pPr marL="2633472" indent="0" algn="ctr">
              <a:buNone/>
              <a:defRPr sz="1536"/>
            </a:lvl7pPr>
            <a:lvl8pPr marL="3072384" indent="0" algn="ctr">
              <a:buNone/>
              <a:defRPr sz="1536"/>
            </a:lvl8pPr>
            <a:lvl9pPr marL="3511296" indent="0" algn="ctr">
              <a:buNone/>
              <a:defRPr sz="1536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BDF306-FE05-D74D-A6BE-C6E2F4CF0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7E7D8-1850-7144-8321-3AFFAEAA9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538E5-276D-1C49-AE0A-014C118B93C7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1669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000"/>
              </a:lnSpc>
              <a:spcBef>
                <a:spcPts val="0"/>
              </a:spcBef>
              <a:defRPr sz="2800"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542111" y="6096467"/>
            <a:ext cx="620416" cy="256686"/>
          </a:xfrm>
          <a:prstGeom prst="rect">
            <a:avLst/>
          </a:prstGeom>
          <a:noFill/>
        </p:spPr>
        <p:txBody>
          <a:bodyPr wrap="square" lIns="117043" tIns="58522" rIns="117043" bIns="58522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0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N›</a:t>
            </a:fld>
            <a:endParaRPr lang="en-US" sz="90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6901" y="5751713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Sky Logo">
            <a:extLst>
              <a:ext uri="{FF2B5EF4-FFF2-40B4-BE49-F238E27FC236}">
                <a16:creationId xmlns:a16="http://schemas.microsoft.com/office/drawing/2014/main" id="{37BEB63D-115C-5044-A4B5-E356A8C012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166" y="5766516"/>
            <a:ext cx="761571" cy="46529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69250D2-3826-CC4F-B7E6-E16F831C1489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36333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01" y="584201"/>
            <a:ext cx="10510838" cy="1017588"/>
          </a:xfrm>
        </p:spPr>
        <p:txBody>
          <a:bodyPr/>
          <a:lstStyle>
            <a:lvl1pPr>
              <a:lnSpc>
                <a:spcPts val="3000"/>
              </a:lnSpc>
              <a:spcBef>
                <a:spcPts val="0"/>
              </a:spcBef>
              <a:defRPr>
                <a:latin typeface="+mj-lt"/>
              </a:defRPr>
            </a:lvl1pPr>
          </a:lstStyle>
          <a:p>
            <a:r>
              <a:rPr lang="en-US"/>
              <a:t>Heading Sky text 28pt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96900" y="1617029"/>
            <a:ext cx="5139592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973764" y="1617029"/>
            <a:ext cx="5133975" cy="4054474"/>
          </a:xfrm>
        </p:spPr>
        <p:txBody>
          <a:bodyPr>
            <a:noAutofit/>
          </a:bodyPr>
          <a:lstStyle>
            <a:lvl1pPr>
              <a:defRPr sz="1800">
                <a:solidFill>
                  <a:srgbClr val="323232"/>
                </a:solidFill>
              </a:defRPr>
            </a:lvl1pPr>
            <a:lvl2pPr>
              <a:defRPr sz="1600">
                <a:solidFill>
                  <a:srgbClr val="323232"/>
                </a:solidFill>
              </a:defRPr>
            </a:lvl2pPr>
            <a:lvl3pPr>
              <a:defRPr sz="1400">
                <a:solidFill>
                  <a:srgbClr val="323232"/>
                </a:solidFill>
              </a:defRPr>
            </a:lvl3pPr>
            <a:lvl4pPr>
              <a:defRPr sz="1200">
                <a:solidFill>
                  <a:srgbClr val="323232"/>
                </a:solidFill>
              </a:defRPr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r>
              <a:rPr lang="en-US"/>
              <a:t>Bullet point Sky text 18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4FD413-3AF6-E345-B320-99A1458283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6901" y="5751714"/>
            <a:ext cx="4677815" cy="333375"/>
          </a:xfrm>
        </p:spPr>
        <p:txBody>
          <a:bodyPr anchor="b"/>
          <a:lstStyle>
            <a:lvl1pPr marL="0" indent="0">
              <a:buNone/>
              <a:defRPr sz="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F908BC-F3FC-0C4D-9492-16C69EC17DCA}"/>
              </a:ext>
            </a:extLst>
          </p:cNvPr>
          <p:cNvSpPr/>
          <p:nvPr userDrawn="1"/>
        </p:nvSpPr>
        <p:spPr>
          <a:xfrm rot="5400000">
            <a:off x="-3253582" y="3253582"/>
            <a:ext cx="6583363" cy="76200"/>
          </a:xfrm>
          <a:prstGeom prst="rect">
            <a:avLst/>
          </a:prstGeom>
          <a:gradFill>
            <a:gsLst>
              <a:gs pos="66000">
                <a:srgbClr val="CC00C2"/>
              </a:gs>
              <a:gs pos="0">
                <a:srgbClr val="7100FC"/>
              </a:gs>
              <a:gs pos="33000">
                <a:srgbClr val="9D00DD"/>
              </a:gs>
              <a:gs pos="100000">
                <a:srgbClr val="FC00A7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3814860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877848" y="2045118"/>
            <a:ext cx="9948942" cy="1411156"/>
          </a:xfrm>
        </p:spPr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8" name="Sottotitolo 2"/>
          <p:cNvSpPr>
            <a:spLocks noGrp="1"/>
          </p:cNvSpPr>
          <p:nvPr>
            <p:ph type="subTitle" idx="1"/>
          </p:nvPr>
        </p:nvSpPr>
        <p:spPr>
          <a:xfrm>
            <a:off x="1755696" y="3730572"/>
            <a:ext cx="8193247" cy="168241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85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7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55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40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25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10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960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81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7984100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26" y="1526"/>
          <a:ext cx="1524" cy="15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6" y="1526"/>
                        <a:ext cx="1524" cy="15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2" y="264149"/>
            <a:ext cx="10534174" cy="1097227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85232" y="1536125"/>
            <a:ext cx="10534174" cy="43442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4919511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24586" y="4230422"/>
            <a:ext cx="9948942" cy="1308545"/>
          </a:xfrm>
          <a:prstGeom prst="rect">
            <a:avLst/>
          </a:prstGeom>
        </p:spPr>
        <p:txBody>
          <a:bodyPr anchor="t"/>
          <a:lstStyle>
            <a:lvl1pPr algn="l">
              <a:defRPr sz="512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24586" y="2789808"/>
            <a:ext cx="9948942" cy="1440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559">
                <a:solidFill>
                  <a:schemeClr val="tx1">
                    <a:tint val="75000"/>
                  </a:schemeClr>
                </a:solidFill>
              </a:defRPr>
            </a:lvl1pPr>
            <a:lvl2pPr marL="585150" indent="0">
              <a:buNone/>
              <a:defRPr sz="2304">
                <a:solidFill>
                  <a:schemeClr val="tx1">
                    <a:tint val="75000"/>
                  </a:schemeClr>
                </a:solidFill>
              </a:defRPr>
            </a:lvl2pPr>
            <a:lvl3pPr marL="1170300" indent="0">
              <a:buNone/>
              <a:defRPr sz="2048">
                <a:solidFill>
                  <a:schemeClr val="tx1">
                    <a:tint val="75000"/>
                  </a:schemeClr>
                </a:solidFill>
              </a:defRPr>
            </a:lvl3pPr>
            <a:lvl4pPr marL="1755448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4pPr>
            <a:lvl5pPr marL="2340597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5pPr>
            <a:lvl6pPr marL="2925747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6pPr>
            <a:lvl7pPr marL="3510897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7pPr>
            <a:lvl8pPr marL="4096045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8pPr>
            <a:lvl9pPr marL="4681195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3118827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2" y="264149"/>
            <a:ext cx="10534174" cy="1097227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585232" y="1536125"/>
            <a:ext cx="5169548" cy="4344206"/>
          </a:xfrm>
          <a:prstGeom prst="rect">
            <a:avLst/>
          </a:prstGeom>
        </p:spPr>
        <p:txBody>
          <a:bodyPr/>
          <a:lstStyle>
            <a:lvl1pPr>
              <a:defRPr sz="3584"/>
            </a:lvl1pPr>
            <a:lvl2pPr>
              <a:defRPr sz="3072"/>
            </a:lvl2pPr>
            <a:lvl3pPr>
              <a:defRPr sz="2559"/>
            </a:lvl3pPr>
            <a:lvl4pPr>
              <a:defRPr sz="2304"/>
            </a:lvl4pPr>
            <a:lvl5pPr>
              <a:defRPr sz="2304"/>
            </a:lvl5pPr>
            <a:lvl6pPr>
              <a:defRPr sz="2304"/>
            </a:lvl6pPr>
            <a:lvl7pPr>
              <a:defRPr sz="2304"/>
            </a:lvl7pPr>
            <a:lvl8pPr>
              <a:defRPr sz="2304"/>
            </a:lvl8pPr>
            <a:lvl9pPr>
              <a:defRPr sz="2304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949858" y="1536125"/>
            <a:ext cx="5169548" cy="4344206"/>
          </a:xfrm>
          <a:prstGeom prst="rect">
            <a:avLst/>
          </a:prstGeom>
        </p:spPr>
        <p:txBody>
          <a:bodyPr/>
          <a:lstStyle>
            <a:lvl1pPr>
              <a:defRPr sz="3584"/>
            </a:lvl1pPr>
            <a:lvl2pPr>
              <a:defRPr sz="3072"/>
            </a:lvl2pPr>
            <a:lvl3pPr>
              <a:defRPr sz="2559"/>
            </a:lvl3pPr>
            <a:lvl4pPr>
              <a:defRPr sz="2304"/>
            </a:lvl4pPr>
            <a:lvl5pPr>
              <a:defRPr sz="2304"/>
            </a:lvl5pPr>
            <a:lvl6pPr>
              <a:defRPr sz="2304"/>
            </a:lvl6pPr>
            <a:lvl7pPr>
              <a:defRPr sz="2304"/>
            </a:lvl7pPr>
            <a:lvl8pPr>
              <a:defRPr sz="2304"/>
            </a:lvl8pPr>
            <a:lvl9pPr>
              <a:defRPr sz="2304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030882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2" y="264149"/>
            <a:ext cx="10534174" cy="109722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585236" y="1473131"/>
            <a:ext cx="5171581" cy="61566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72" b="1"/>
            </a:lvl1pPr>
            <a:lvl2pPr marL="585150" indent="0">
              <a:buNone/>
              <a:defRPr sz="2559" b="1"/>
            </a:lvl2pPr>
            <a:lvl3pPr marL="1170300" indent="0">
              <a:buNone/>
              <a:defRPr sz="2304" b="1"/>
            </a:lvl3pPr>
            <a:lvl4pPr marL="1755448" indent="0">
              <a:buNone/>
              <a:defRPr sz="2048" b="1"/>
            </a:lvl4pPr>
            <a:lvl5pPr marL="2340597" indent="0">
              <a:buNone/>
              <a:defRPr sz="2048" b="1"/>
            </a:lvl5pPr>
            <a:lvl6pPr marL="2925747" indent="0">
              <a:buNone/>
              <a:defRPr sz="2048" b="1"/>
            </a:lvl6pPr>
            <a:lvl7pPr marL="3510897" indent="0">
              <a:buNone/>
              <a:defRPr sz="2048" b="1"/>
            </a:lvl7pPr>
            <a:lvl8pPr marL="4096045" indent="0">
              <a:buNone/>
              <a:defRPr sz="2048" b="1"/>
            </a:lvl8pPr>
            <a:lvl9pPr marL="4681195" indent="0">
              <a:buNone/>
              <a:defRPr sz="2048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85236" y="2088801"/>
            <a:ext cx="5171581" cy="3791529"/>
          </a:xfrm>
          <a:prstGeom prst="rect">
            <a:avLst/>
          </a:prstGeom>
        </p:spPr>
        <p:txBody>
          <a:bodyPr/>
          <a:lstStyle>
            <a:lvl1pPr>
              <a:defRPr sz="3072"/>
            </a:lvl1pPr>
            <a:lvl2pPr>
              <a:defRPr sz="2559"/>
            </a:lvl2pPr>
            <a:lvl3pPr>
              <a:defRPr sz="2304"/>
            </a:lvl3pPr>
            <a:lvl4pPr>
              <a:defRPr sz="2048"/>
            </a:lvl4pPr>
            <a:lvl5pPr>
              <a:defRPr sz="2048"/>
            </a:lvl5pPr>
            <a:lvl6pPr>
              <a:defRPr sz="2048"/>
            </a:lvl6pPr>
            <a:lvl7pPr>
              <a:defRPr sz="2048"/>
            </a:lvl7pPr>
            <a:lvl8pPr>
              <a:defRPr sz="2048"/>
            </a:lvl8pPr>
            <a:lvl9pPr>
              <a:defRPr sz="2048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945797" y="1473131"/>
            <a:ext cx="5173612" cy="61566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072" b="1"/>
            </a:lvl1pPr>
            <a:lvl2pPr marL="585150" indent="0">
              <a:buNone/>
              <a:defRPr sz="2559" b="1"/>
            </a:lvl2pPr>
            <a:lvl3pPr marL="1170300" indent="0">
              <a:buNone/>
              <a:defRPr sz="2304" b="1"/>
            </a:lvl3pPr>
            <a:lvl4pPr marL="1755448" indent="0">
              <a:buNone/>
              <a:defRPr sz="2048" b="1"/>
            </a:lvl4pPr>
            <a:lvl5pPr marL="2340597" indent="0">
              <a:buNone/>
              <a:defRPr sz="2048" b="1"/>
            </a:lvl5pPr>
            <a:lvl6pPr marL="2925747" indent="0">
              <a:buNone/>
              <a:defRPr sz="2048" b="1"/>
            </a:lvl6pPr>
            <a:lvl7pPr marL="3510897" indent="0">
              <a:buNone/>
              <a:defRPr sz="2048" b="1"/>
            </a:lvl7pPr>
            <a:lvl8pPr marL="4096045" indent="0">
              <a:buNone/>
              <a:defRPr sz="2048" b="1"/>
            </a:lvl8pPr>
            <a:lvl9pPr marL="4681195" indent="0">
              <a:buNone/>
              <a:defRPr sz="2048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945797" y="2088801"/>
            <a:ext cx="5173612" cy="3791529"/>
          </a:xfrm>
          <a:prstGeom prst="rect">
            <a:avLst/>
          </a:prstGeom>
        </p:spPr>
        <p:txBody>
          <a:bodyPr/>
          <a:lstStyle>
            <a:lvl1pPr>
              <a:defRPr sz="3072"/>
            </a:lvl1pPr>
            <a:lvl2pPr>
              <a:defRPr sz="2559"/>
            </a:lvl2pPr>
            <a:lvl3pPr>
              <a:defRPr sz="2304"/>
            </a:lvl3pPr>
            <a:lvl4pPr>
              <a:defRPr sz="2048"/>
            </a:lvl4pPr>
            <a:lvl5pPr>
              <a:defRPr sz="2048"/>
            </a:lvl5pPr>
            <a:lvl6pPr>
              <a:defRPr sz="2048"/>
            </a:lvl6pPr>
            <a:lvl7pPr>
              <a:defRPr sz="2048"/>
            </a:lvl7pPr>
            <a:lvl8pPr>
              <a:defRPr sz="2048"/>
            </a:lvl8pPr>
            <a:lvl9pPr>
              <a:defRPr sz="2048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11671590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2" y="264149"/>
            <a:ext cx="10534174" cy="1097227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4206786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26" y="1526"/>
          <a:ext cx="1524" cy="15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6" y="1526"/>
                        <a:ext cx="1524" cy="15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878415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6" y="262124"/>
            <a:ext cx="3850745" cy="1115513"/>
          </a:xfrm>
          <a:prstGeom prst="rect">
            <a:avLst/>
          </a:prstGeom>
        </p:spPr>
        <p:txBody>
          <a:bodyPr anchor="b"/>
          <a:lstStyle>
            <a:lvl1pPr algn="l">
              <a:defRPr sz="2559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6191" y="262124"/>
            <a:ext cx="6543219" cy="5618209"/>
          </a:xfrm>
          <a:prstGeom prst="rect">
            <a:avLst/>
          </a:prstGeom>
        </p:spPr>
        <p:txBody>
          <a:bodyPr/>
          <a:lstStyle>
            <a:lvl1pPr>
              <a:defRPr sz="4095"/>
            </a:lvl1pPr>
            <a:lvl2pPr>
              <a:defRPr sz="3584"/>
            </a:lvl2pPr>
            <a:lvl3pPr>
              <a:defRPr sz="3072"/>
            </a:lvl3pPr>
            <a:lvl4pPr>
              <a:defRPr sz="2559"/>
            </a:lvl4pPr>
            <a:lvl5pPr>
              <a:defRPr sz="2559"/>
            </a:lvl5pPr>
            <a:lvl6pPr>
              <a:defRPr sz="2559"/>
            </a:lvl6pPr>
            <a:lvl7pPr>
              <a:defRPr sz="2559"/>
            </a:lvl7pPr>
            <a:lvl8pPr>
              <a:defRPr sz="2559"/>
            </a:lvl8pPr>
            <a:lvl9pPr>
              <a:defRPr sz="2559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585236" y="1377631"/>
            <a:ext cx="3850745" cy="4502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2"/>
            </a:lvl1pPr>
            <a:lvl2pPr marL="585150" indent="0">
              <a:buNone/>
              <a:defRPr sz="1536"/>
            </a:lvl2pPr>
            <a:lvl3pPr marL="1170300" indent="0">
              <a:buNone/>
              <a:defRPr sz="1280"/>
            </a:lvl3pPr>
            <a:lvl4pPr marL="1755448" indent="0">
              <a:buNone/>
              <a:defRPr sz="1152"/>
            </a:lvl4pPr>
            <a:lvl5pPr marL="2340597" indent="0">
              <a:buNone/>
              <a:defRPr sz="1152"/>
            </a:lvl5pPr>
            <a:lvl6pPr marL="2925747" indent="0">
              <a:buNone/>
              <a:defRPr sz="1152"/>
            </a:lvl6pPr>
            <a:lvl7pPr marL="3510897" indent="0">
              <a:buNone/>
              <a:defRPr sz="1152"/>
            </a:lvl7pPr>
            <a:lvl8pPr marL="4096045" indent="0">
              <a:buNone/>
              <a:defRPr sz="1152"/>
            </a:lvl8pPr>
            <a:lvl9pPr marL="4681195" indent="0">
              <a:buNone/>
              <a:defRPr sz="1152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38771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294192" y="4608356"/>
            <a:ext cx="7022783" cy="544550"/>
          </a:xfrm>
          <a:prstGeom prst="rect">
            <a:avLst/>
          </a:prstGeom>
        </p:spPr>
        <p:txBody>
          <a:bodyPr anchor="b"/>
          <a:lstStyle>
            <a:lvl1pPr algn="l">
              <a:defRPr sz="2559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294192" y="589251"/>
            <a:ext cx="7022783" cy="39500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95"/>
            </a:lvl1pPr>
            <a:lvl2pPr marL="585150" indent="0">
              <a:buNone/>
              <a:defRPr sz="3584"/>
            </a:lvl2pPr>
            <a:lvl3pPr marL="1170300" indent="0">
              <a:buNone/>
              <a:defRPr sz="3072"/>
            </a:lvl3pPr>
            <a:lvl4pPr marL="1755448" indent="0">
              <a:buNone/>
              <a:defRPr sz="2559"/>
            </a:lvl4pPr>
            <a:lvl5pPr marL="2340597" indent="0">
              <a:buNone/>
              <a:defRPr sz="2559"/>
            </a:lvl5pPr>
            <a:lvl6pPr marL="2925747" indent="0">
              <a:buNone/>
              <a:defRPr sz="2559"/>
            </a:lvl6pPr>
            <a:lvl7pPr marL="3510897" indent="0">
              <a:buNone/>
              <a:defRPr sz="2559"/>
            </a:lvl7pPr>
            <a:lvl8pPr marL="4096045" indent="0">
              <a:buNone/>
              <a:defRPr sz="2559"/>
            </a:lvl8pPr>
            <a:lvl9pPr marL="4681195" indent="0">
              <a:buNone/>
              <a:defRPr sz="2559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294192" y="5152904"/>
            <a:ext cx="7022783" cy="7721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2"/>
            </a:lvl1pPr>
            <a:lvl2pPr marL="585150" indent="0">
              <a:buNone/>
              <a:defRPr sz="1536"/>
            </a:lvl2pPr>
            <a:lvl3pPr marL="1170300" indent="0">
              <a:buNone/>
              <a:defRPr sz="1280"/>
            </a:lvl3pPr>
            <a:lvl4pPr marL="1755448" indent="0">
              <a:buNone/>
              <a:defRPr sz="1152"/>
            </a:lvl4pPr>
            <a:lvl5pPr marL="2340597" indent="0">
              <a:buNone/>
              <a:defRPr sz="1152"/>
            </a:lvl5pPr>
            <a:lvl6pPr marL="2925747" indent="0">
              <a:buNone/>
              <a:defRPr sz="1152"/>
            </a:lvl6pPr>
            <a:lvl7pPr marL="3510897" indent="0">
              <a:buNone/>
              <a:defRPr sz="1152"/>
            </a:lvl7pPr>
            <a:lvl8pPr marL="4096045" indent="0">
              <a:buNone/>
              <a:defRPr sz="1152"/>
            </a:lvl8pPr>
            <a:lvl9pPr marL="4681195" indent="0">
              <a:buNone/>
              <a:defRPr sz="1152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7543950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/>
          <p:cNvSpPr>
            <a:spLocks noGrp="1"/>
          </p:cNvSpPr>
          <p:nvPr>
            <p:ph type="ctrTitle"/>
          </p:nvPr>
        </p:nvSpPr>
        <p:spPr>
          <a:xfrm>
            <a:off x="877848" y="2045117"/>
            <a:ext cx="9948942" cy="1411156"/>
          </a:xfrm>
        </p:spPr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8" name="Sottotitolo 2"/>
          <p:cNvSpPr>
            <a:spLocks noGrp="1"/>
          </p:cNvSpPr>
          <p:nvPr>
            <p:ph type="subTitle" idx="1"/>
          </p:nvPr>
        </p:nvSpPr>
        <p:spPr>
          <a:xfrm>
            <a:off x="1755696" y="3730572"/>
            <a:ext cx="8193247" cy="168241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85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703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55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40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2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11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96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814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171023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 descr="Arriva Sky Wi-Fi, la fibra di qualitÃ  per la famiglia: come ...">
            <a:extLst>
              <a:ext uri="{FF2B5EF4-FFF2-40B4-BE49-F238E27FC236}">
                <a16:creationId xmlns:a16="http://schemas.microsoft.com/office/drawing/2014/main" id="{5BAC2C82-2D1F-48E4-9974-33C3482323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9627"/>
            <a:ext cx="11704638" cy="7322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6901" y="5330190"/>
            <a:ext cx="10510838" cy="674688"/>
          </a:xfrm>
        </p:spPr>
        <p:txBody>
          <a:bodyPr anchor="t" anchorCtr="1">
            <a:noAutofit/>
          </a:bodyPr>
          <a:lstStyle>
            <a:lvl1pPr marL="0" indent="0" algn="ctr">
              <a:buNone/>
              <a:defRPr sz="2000" b="1">
                <a:solidFill>
                  <a:schemeClr val="bg1"/>
                </a:solidFill>
                <a:latin typeface="+mn-lt"/>
              </a:defRPr>
            </a:lvl1pPr>
            <a:lvl2pPr marL="585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70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55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4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25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10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95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81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307D31D-1F84-4FD4-A75E-6F5A477E2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6899" y="4655502"/>
            <a:ext cx="10510838" cy="674688"/>
          </a:xfrm>
        </p:spPr>
        <p:txBody>
          <a:bodyPr lIns="0" tIns="0" rIns="0" bIns="0">
            <a:noAutofit/>
          </a:bodyPr>
          <a:lstStyle>
            <a:lvl1pPr marL="0" marR="0" indent="0" algn="ctr" defTabSz="1170206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798" b="1" kern="1200" dirty="0">
                <a:solidFill>
                  <a:schemeClr val="bg1"/>
                </a:solidFill>
                <a:latin typeface="+mj-lt"/>
                <a:ea typeface="+mj-ea"/>
                <a:cs typeface="Sky Text Light"/>
              </a:defRPr>
            </a:lvl1pPr>
          </a:lstStyle>
          <a:p>
            <a:r>
              <a:rPr lang="en-US" dirty="0"/>
              <a:t>Heading Sky text 28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046744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25" y="1525"/>
          <a:ext cx="1524" cy="15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" y="1525"/>
                        <a:ext cx="1524" cy="15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2" y="264148"/>
            <a:ext cx="10534174" cy="1097227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85232" y="1536125"/>
            <a:ext cx="10534174" cy="43442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7316393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24586" y="4230421"/>
            <a:ext cx="9948942" cy="1308545"/>
          </a:xfrm>
          <a:prstGeom prst="rect">
            <a:avLst/>
          </a:prstGeom>
        </p:spPr>
        <p:txBody>
          <a:bodyPr anchor="t"/>
          <a:lstStyle>
            <a:lvl1pPr algn="l">
              <a:defRPr sz="512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24586" y="2789808"/>
            <a:ext cx="9948942" cy="14406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1pPr>
            <a:lvl2pPr marL="585187" indent="0">
              <a:buNone/>
              <a:defRPr sz="2304">
                <a:solidFill>
                  <a:schemeClr val="tx1">
                    <a:tint val="75000"/>
                  </a:schemeClr>
                </a:solidFill>
              </a:defRPr>
            </a:lvl2pPr>
            <a:lvl3pPr marL="1170374" indent="0">
              <a:buNone/>
              <a:defRPr sz="2048">
                <a:solidFill>
                  <a:schemeClr val="tx1">
                    <a:tint val="75000"/>
                  </a:schemeClr>
                </a:solidFill>
              </a:defRPr>
            </a:lvl3pPr>
            <a:lvl4pPr marL="1755561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4pPr>
            <a:lvl5pPr marL="2340747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5pPr>
            <a:lvl6pPr marL="2925934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6pPr>
            <a:lvl7pPr marL="3511121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7pPr>
            <a:lvl8pPr marL="4096308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8pPr>
            <a:lvl9pPr marL="4681495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5607117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85232" y="264148"/>
            <a:ext cx="10534174" cy="1097227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585232" y="1536125"/>
            <a:ext cx="5169548" cy="4344206"/>
          </a:xfrm>
          <a:prstGeom prst="rect">
            <a:avLst/>
          </a:prstGeom>
        </p:spPr>
        <p:txBody>
          <a:bodyPr/>
          <a:lstStyle>
            <a:lvl1pPr>
              <a:defRPr sz="3584"/>
            </a:lvl1pPr>
            <a:lvl2pPr>
              <a:defRPr sz="3072"/>
            </a:lvl2pPr>
            <a:lvl3pPr>
              <a:defRPr sz="2560"/>
            </a:lvl3pPr>
            <a:lvl4pPr>
              <a:defRPr sz="2304"/>
            </a:lvl4pPr>
            <a:lvl5pPr>
              <a:defRPr sz="2304"/>
            </a:lvl5pPr>
            <a:lvl6pPr>
              <a:defRPr sz="2304"/>
            </a:lvl6pPr>
            <a:lvl7pPr>
              <a:defRPr sz="2304"/>
            </a:lvl7pPr>
            <a:lvl8pPr>
              <a:defRPr sz="2304"/>
            </a:lvl8pPr>
            <a:lvl9pPr>
              <a:defRPr sz="2304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949858" y="1536125"/>
            <a:ext cx="5169548" cy="4344206"/>
          </a:xfrm>
          <a:prstGeom prst="rect">
            <a:avLst/>
          </a:prstGeom>
        </p:spPr>
        <p:txBody>
          <a:bodyPr/>
          <a:lstStyle>
            <a:lvl1pPr>
              <a:defRPr sz="3584"/>
            </a:lvl1pPr>
            <a:lvl2pPr>
              <a:defRPr sz="3072"/>
            </a:lvl2pPr>
            <a:lvl3pPr>
              <a:defRPr sz="2560"/>
            </a:lvl3pPr>
            <a:lvl4pPr>
              <a:defRPr sz="2304"/>
            </a:lvl4pPr>
            <a:lvl5pPr>
              <a:defRPr sz="2304"/>
            </a:lvl5pPr>
            <a:lvl6pPr>
              <a:defRPr sz="2304"/>
            </a:lvl6pPr>
            <a:lvl7pPr>
              <a:defRPr sz="2304"/>
            </a:lvl7pPr>
            <a:lvl8pPr>
              <a:defRPr sz="2304"/>
            </a:lvl8pPr>
            <a:lvl9pPr>
              <a:defRPr sz="2304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433639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7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37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image" Target="../media/image6.emf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6900" y="584200"/>
            <a:ext cx="10510839" cy="101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6900" y="1617029"/>
            <a:ext cx="10510839" cy="405447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8295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717" r:id="rId2"/>
    <p:sldLayoutId id="2147483718" r:id="rId3"/>
    <p:sldLayoutId id="2147483719" r:id="rId4"/>
    <p:sldLayoutId id="2147483720" r:id="rId5"/>
  </p:sldLayoutIdLst>
  <p:transition>
    <p:fade/>
  </p:transition>
  <p:txStyles>
    <p:titleStyle>
      <a:lvl1pPr marL="0" algn="l" defTabSz="1170356" rtl="0" eaLnBrk="1" latinLnBrk="0" hangingPunct="1">
        <a:lnSpc>
          <a:spcPct val="80000"/>
        </a:lnSpc>
        <a:spcBef>
          <a:spcPts val="768"/>
        </a:spcBef>
        <a:spcAft>
          <a:spcPts val="0"/>
        </a:spcAft>
        <a:buNone/>
        <a:defRPr lang="en-GB" sz="2800" kern="1200" dirty="0">
          <a:gradFill flip="none" rotWithShape="1"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29617" indent="-229617" algn="l" defTabSz="1170432" rtl="0" eaLnBrk="1" latinLnBrk="0" hangingPunct="1">
        <a:spcBef>
          <a:spcPts val="768"/>
        </a:spcBef>
        <a:buClr>
          <a:srgbClr val="0644A1"/>
        </a:buClr>
        <a:buFont typeface="Arial" pitchFamily="34" charset="0"/>
        <a:buChar char="•"/>
        <a:defRPr sz="1800" kern="1200">
          <a:solidFill>
            <a:srgbClr val="323232"/>
          </a:solidFill>
          <a:latin typeface="+mn-lt"/>
          <a:ea typeface="+mn-ea"/>
          <a:cs typeface="+mn-cs"/>
        </a:defRPr>
      </a:lvl1pPr>
      <a:lvl2pPr marL="468000" indent="-216000" algn="l" defTabSz="1170432" rtl="0" eaLnBrk="1" latinLnBrk="0" hangingPunct="1">
        <a:spcBef>
          <a:spcPts val="600"/>
        </a:spcBef>
        <a:buClr>
          <a:srgbClr val="0644A1"/>
        </a:buClr>
        <a:buFont typeface="Arial" pitchFamily="34" charset="0"/>
        <a:buChar char="–"/>
        <a:tabLst/>
        <a:defRPr sz="1600" kern="1200">
          <a:solidFill>
            <a:srgbClr val="323232"/>
          </a:solidFill>
          <a:latin typeface="+mn-lt"/>
          <a:ea typeface="+mn-ea"/>
          <a:cs typeface="+mn-cs"/>
        </a:defRPr>
      </a:lvl2pPr>
      <a:lvl3pPr marL="640800" indent="-172800" algn="l" defTabSz="1170432" rtl="0" eaLnBrk="1" latinLnBrk="0" hangingPunct="1">
        <a:spcBef>
          <a:spcPts val="600"/>
        </a:spcBef>
        <a:buClr>
          <a:srgbClr val="0644A1"/>
        </a:buClr>
        <a:buFont typeface="Lucida Grande"/>
        <a:buChar char="­"/>
        <a:tabLst/>
        <a:defRPr sz="1400" kern="1200">
          <a:solidFill>
            <a:srgbClr val="323232"/>
          </a:solidFill>
          <a:latin typeface="+mn-lt"/>
          <a:ea typeface="+mn-ea"/>
          <a:cs typeface="+mn-cs"/>
        </a:defRPr>
      </a:lvl3pPr>
      <a:lvl4pPr marL="835200" indent="-179388" algn="l" defTabSz="1170432" rtl="0" eaLnBrk="1" latinLnBrk="0" hangingPunct="1">
        <a:spcBef>
          <a:spcPts val="600"/>
        </a:spcBef>
        <a:buClr>
          <a:srgbClr val="0644A1"/>
        </a:buClr>
        <a:buFont typeface="Arial" pitchFamily="34" charset="0"/>
        <a:buChar char="–"/>
        <a:tabLst/>
        <a:defRPr sz="1200" kern="1200">
          <a:solidFill>
            <a:srgbClr val="323232"/>
          </a:solidFill>
          <a:latin typeface="+mn-lt"/>
          <a:ea typeface="+mn-ea"/>
          <a:cs typeface="+mn-cs"/>
        </a:defRPr>
      </a:lvl4pPr>
      <a:lvl5pPr marL="2633472" indent="-292608" algn="l" defTabSz="117043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218688" indent="-292608" algn="l" defTabSz="1170432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03904" indent="-292608" algn="l" defTabSz="1170432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9120" indent="-292608" algn="l" defTabSz="1170432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74336" indent="-292608" algn="l" defTabSz="1170432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70432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55648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0864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26080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11296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96512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81728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 userDrawn="1">
          <p15:clr>
            <a:srgbClr val="F26B43"/>
          </p15:clr>
        </p15:guide>
        <p15:guide id="2" pos="368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25" y="1525"/>
          <a:ext cx="1524" cy="15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25" y="1525"/>
                        <a:ext cx="1524" cy="15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5C485D6-361F-44B0-B905-2B4C89A041BE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2404" cy="152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5632" b="0" i="0" baseline="0" dirty="0">
              <a:latin typeface="Sky Text" panose="020B0506040202020204" pitchFamily="34" charset="0"/>
              <a:ea typeface="+mj-ea"/>
              <a:cs typeface="+mj-cs"/>
              <a:sym typeface="Sky Text" panose="020B0506040202020204" pitchFamily="34" charset="0"/>
            </a:endParaRPr>
          </a:p>
        </p:txBody>
      </p:sp>
      <p:sp>
        <p:nvSpPr>
          <p:cNvPr id="7" name="Segnaposto titolo 1"/>
          <p:cNvSpPr>
            <a:spLocks noGrp="1"/>
          </p:cNvSpPr>
          <p:nvPr>
            <p:ph type="title"/>
          </p:nvPr>
        </p:nvSpPr>
        <p:spPr>
          <a:xfrm>
            <a:off x="585232" y="263641"/>
            <a:ext cx="10534174" cy="10972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8" name="Segnaposto testo 2"/>
          <p:cNvSpPr>
            <a:spLocks noGrp="1"/>
          </p:cNvSpPr>
          <p:nvPr>
            <p:ph type="body" idx="1"/>
          </p:nvPr>
        </p:nvSpPr>
        <p:spPr>
          <a:xfrm>
            <a:off x="585232" y="1536120"/>
            <a:ext cx="10534174" cy="43447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070137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99" r:id="rId11"/>
    <p:sldLayoutId id="2147483803" r:id="rId12"/>
  </p:sldLayoutIdLst>
  <p:hf sldNum="0" hdr="0" ftr="0" dt="0"/>
  <p:txStyles>
    <p:titleStyle>
      <a:lvl1pPr algn="ctr" defTabSz="1170374" rtl="0" eaLnBrk="1" latinLnBrk="0" hangingPunct="1">
        <a:spcBef>
          <a:spcPct val="0"/>
        </a:spcBef>
        <a:buNone/>
        <a:defRPr sz="563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8891" indent="-438891" algn="l" defTabSz="1170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4096" kern="1200">
          <a:solidFill>
            <a:schemeClr val="tx1"/>
          </a:solidFill>
          <a:latin typeface="+mn-lt"/>
          <a:ea typeface="+mn-ea"/>
          <a:cs typeface="+mn-cs"/>
        </a:defRPr>
      </a:lvl1pPr>
      <a:lvl2pPr marL="950928" indent="-365742" algn="l" defTabSz="1170374" rtl="0" eaLnBrk="1" latinLnBrk="0" hangingPunct="1">
        <a:spcBef>
          <a:spcPct val="20000"/>
        </a:spcBef>
        <a:buFont typeface="Arial" panose="020B0604020202020204" pitchFamily="34" charset="0"/>
        <a:buChar char="–"/>
        <a:defRPr sz="3584" kern="1200">
          <a:solidFill>
            <a:schemeClr val="tx1"/>
          </a:solidFill>
          <a:latin typeface="+mn-lt"/>
          <a:ea typeface="+mn-ea"/>
          <a:cs typeface="+mn-cs"/>
        </a:defRPr>
      </a:lvl2pPr>
      <a:lvl3pPr marL="1462968" indent="-292593" algn="l" defTabSz="1170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3072" kern="1200">
          <a:solidFill>
            <a:schemeClr val="tx1"/>
          </a:solidFill>
          <a:latin typeface="+mn-lt"/>
          <a:ea typeface="+mn-ea"/>
          <a:cs typeface="+mn-cs"/>
        </a:defRPr>
      </a:lvl3pPr>
      <a:lvl4pPr marL="2048153" indent="-292593" algn="l" defTabSz="1170374" rtl="0" eaLnBrk="1" latinLnBrk="0" hangingPunct="1">
        <a:spcBef>
          <a:spcPct val="20000"/>
        </a:spcBef>
        <a:buFont typeface="Arial" panose="020B0604020202020204" pitchFamily="34" charset="0"/>
        <a:buChar char="–"/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33340" indent="-292593" algn="l" defTabSz="1170374" rtl="0" eaLnBrk="1" latinLnBrk="0" hangingPunct="1">
        <a:spcBef>
          <a:spcPct val="20000"/>
        </a:spcBef>
        <a:buFont typeface="Arial" panose="020B0604020202020204" pitchFamily="34" charset="0"/>
        <a:buChar char="»"/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18527" indent="-292593" algn="l" defTabSz="1170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03714" indent="-292593" algn="l" defTabSz="1170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388901" indent="-292593" algn="l" defTabSz="1170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4974087" indent="-292593" algn="l" defTabSz="1170374" rtl="0" eaLnBrk="1" latinLnBrk="0" hangingPunct="1">
        <a:spcBef>
          <a:spcPct val="20000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1170374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1pPr>
      <a:lvl2pPr marL="585187" algn="l" defTabSz="1170374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2pPr>
      <a:lvl3pPr marL="1170374" algn="l" defTabSz="1170374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3pPr>
      <a:lvl4pPr marL="1755561" algn="l" defTabSz="1170374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4pPr>
      <a:lvl5pPr marL="2340747" algn="l" defTabSz="1170374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5pPr>
      <a:lvl6pPr marL="2925934" algn="l" defTabSz="1170374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6pPr>
      <a:lvl7pPr marL="3511121" algn="l" defTabSz="1170374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7pPr>
      <a:lvl8pPr marL="4096308" algn="l" defTabSz="1170374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8pPr>
      <a:lvl9pPr marL="4681495" algn="l" defTabSz="1170374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6900" y="584200"/>
            <a:ext cx="10510839" cy="10175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6900" y="1617029"/>
            <a:ext cx="10510839" cy="405447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19166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</p:sldLayoutIdLst>
  <p:transition>
    <p:fade/>
  </p:transition>
  <p:txStyles>
    <p:titleStyle>
      <a:lvl1pPr marL="0" algn="l" defTabSz="1170356" rtl="0" eaLnBrk="1" latinLnBrk="0" hangingPunct="1">
        <a:lnSpc>
          <a:spcPct val="80000"/>
        </a:lnSpc>
        <a:spcBef>
          <a:spcPts val="768"/>
        </a:spcBef>
        <a:spcAft>
          <a:spcPts val="0"/>
        </a:spcAft>
        <a:buNone/>
        <a:defRPr lang="en-GB" sz="2800" kern="1200" dirty="0">
          <a:gradFill flip="none" rotWithShape="1"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1"/>
            <a:tileRect/>
          </a:gradFill>
          <a:latin typeface="+mj-lt"/>
          <a:ea typeface="+mj-ea"/>
          <a:cs typeface="Sky Text Light"/>
        </a:defRPr>
      </a:lvl1pPr>
    </p:titleStyle>
    <p:bodyStyle>
      <a:lvl1pPr marL="229617" indent="-229617" algn="l" defTabSz="1170432" rtl="0" eaLnBrk="1" latinLnBrk="0" hangingPunct="1">
        <a:spcBef>
          <a:spcPts val="768"/>
        </a:spcBef>
        <a:buClr>
          <a:srgbClr val="0644A1"/>
        </a:buClr>
        <a:buFont typeface="Arial" pitchFamily="34" charset="0"/>
        <a:buChar char="•"/>
        <a:defRPr sz="1800" kern="1200">
          <a:solidFill>
            <a:srgbClr val="323232"/>
          </a:solidFill>
          <a:latin typeface="+mn-lt"/>
          <a:ea typeface="+mn-ea"/>
          <a:cs typeface="+mn-cs"/>
        </a:defRPr>
      </a:lvl1pPr>
      <a:lvl2pPr marL="468000" indent="-216000" algn="l" defTabSz="1170432" rtl="0" eaLnBrk="1" latinLnBrk="0" hangingPunct="1">
        <a:spcBef>
          <a:spcPts val="600"/>
        </a:spcBef>
        <a:buClr>
          <a:srgbClr val="0644A1"/>
        </a:buClr>
        <a:buFont typeface="Arial" pitchFamily="34" charset="0"/>
        <a:buChar char="–"/>
        <a:tabLst/>
        <a:defRPr sz="1600" kern="1200">
          <a:solidFill>
            <a:srgbClr val="323232"/>
          </a:solidFill>
          <a:latin typeface="+mn-lt"/>
          <a:ea typeface="+mn-ea"/>
          <a:cs typeface="+mn-cs"/>
        </a:defRPr>
      </a:lvl2pPr>
      <a:lvl3pPr marL="640800" indent="-172800" algn="l" defTabSz="1170432" rtl="0" eaLnBrk="1" latinLnBrk="0" hangingPunct="1">
        <a:spcBef>
          <a:spcPts val="600"/>
        </a:spcBef>
        <a:buClr>
          <a:srgbClr val="0644A1"/>
        </a:buClr>
        <a:buFont typeface="Lucida Grande"/>
        <a:buChar char="­"/>
        <a:tabLst/>
        <a:defRPr sz="1400" kern="1200">
          <a:solidFill>
            <a:srgbClr val="323232"/>
          </a:solidFill>
          <a:latin typeface="+mn-lt"/>
          <a:ea typeface="+mn-ea"/>
          <a:cs typeface="+mn-cs"/>
        </a:defRPr>
      </a:lvl3pPr>
      <a:lvl4pPr marL="835200" indent="-179388" algn="l" defTabSz="1170432" rtl="0" eaLnBrk="1" latinLnBrk="0" hangingPunct="1">
        <a:spcBef>
          <a:spcPts val="600"/>
        </a:spcBef>
        <a:buClr>
          <a:srgbClr val="0644A1"/>
        </a:buClr>
        <a:buFont typeface="Arial" pitchFamily="34" charset="0"/>
        <a:buChar char="–"/>
        <a:tabLst/>
        <a:defRPr sz="1200" kern="1200">
          <a:solidFill>
            <a:srgbClr val="323232"/>
          </a:solidFill>
          <a:latin typeface="+mn-lt"/>
          <a:ea typeface="+mn-ea"/>
          <a:cs typeface="+mn-cs"/>
        </a:defRPr>
      </a:lvl4pPr>
      <a:lvl5pPr marL="2633472" indent="-292608" algn="l" defTabSz="117043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218688" indent="-292608" algn="l" defTabSz="1170432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03904" indent="-292608" algn="l" defTabSz="1170432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389120" indent="-292608" algn="l" defTabSz="1170432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74336" indent="-292608" algn="l" defTabSz="1170432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70432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55648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0864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26080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11296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96512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81728" algn="l" defTabSz="117043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73">
          <p15:clr>
            <a:srgbClr val="F26B43"/>
          </p15:clr>
        </p15:guide>
        <p15:guide id="2" pos="368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606C0DF-878E-4A4C-8883-CC0F2ADA5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45390721"/>
              </p:ext>
            </p:extLst>
          </p:nvPr>
        </p:nvGraphicFramePr>
        <p:xfrm>
          <a:off x="1524" y="1525"/>
          <a:ext cx="1525" cy="15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606C0DF-878E-4A4C-8883-CC0F2ADA5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24" y="1525"/>
                        <a:ext cx="1525" cy="15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784" y="343754"/>
            <a:ext cx="11064997" cy="746460"/>
          </a:xfrm>
          <a:prstGeom prst="rect">
            <a:avLst/>
          </a:prstGeom>
        </p:spPr>
        <p:txBody>
          <a:bodyPr vert="horz" lIns="0" tIns="0" rIns="130101" bIns="0" rtlCol="0" anchor="t" anchorCtr="0">
            <a:noAutofit/>
          </a:bodyPr>
          <a:lstStyle/>
          <a:p>
            <a:pPr lvl="0" defTabSz="1665249">
              <a:lnSpc>
                <a:spcPct val="80000"/>
              </a:lnSpc>
            </a:pPr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785" y="1693358"/>
            <a:ext cx="11049132" cy="437949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 defTabSz="1665249">
              <a:lnSpc>
                <a:spcPct val="90000"/>
              </a:lnSpc>
              <a:spcBef>
                <a:spcPts val="768"/>
              </a:spcBef>
              <a:buFont typeface="Arial" charset="0"/>
            </a:pPr>
            <a:r>
              <a:rPr lang="en-US"/>
              <a:t>Edit Master text styles</a:t>
            </a:r>
          </a:p>
          <a:p>
            <a:pPr lvl="1" defTabSz="1665249">
              <a:lnSpc>
                <a:spcPct val="100000"/>
              </a:lnSpc>
              <a:spcBef>
                <a:spcPts val="768"/>
              </a:spcBef>
              <a:buFont typeface="Arial" charset="0"/>
            </a:pPr>
            <a:r>
              <a:rPr lang="en-US"/>
              <a:t>Second level</a:t>
            </a:r>
          </a:p>
          <a:p>
            <a:pPr lvl="2" defTabSz="1665249">
              <a:lnSpc>
                <a:spcPct val="100000"/>
              </a:lnSpc>
              <a:spcBef>
                <a:spcPts val="768"/>
              </a:spcBef>
              <a:buFont typeface="Arial" charset="0"/>
            </a:pPr>
            <a:r>
              <a:rPr lang="en-US"/>
              <a:t>Third level</a:t>
            </a:r>
          </a:p>
          <a:p>
            <a:pPr lvl="3" defTabSz="1665249">
              <a:lnSpc>
                <a:spcPct val="100000"/>
              </a:lnSpc>
              <a:spcBef>
                <a:spcPts val="768"/>
              </a:spcBef>
              <a:buFont typeface="Arial" charset="0"/>
            </a:pPr>
            <a:r>
              <a:rPr lang="en-US"/>
              <a:t>Fourth level</a:t>
            </a:r>
          </a:p>
          <a:p>
            <a:pPr lvl="4" defTabSz="1665249">
              <a:lnSpc>
                <a:spcPct val="100000"/>
              </a:lnSpc>
              <a:spcBef>
                <a:spcPts val="768"/>
              </a:spcBef>
              <a:buFont typeface="Arial" charset="0"/>
            </a:pPr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116097" y="6255431"/>
            <a:ext cx="3950315" cy="134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64">
                <a:solidFill>
                  <a:srgbClr val="898989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173551" y="6255431"/>
            <a:ext cx="207366" cy="13477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64">
                <a:solidFill>
                  <a:srgbClr val="898989"/>
                </a:solidFill>
                <a:latin typeface="+mn-lt"/>
              </a:defRPr>
            </a:lvl1pPr>
          </a:lstStyle>
          <a:p>
            <a:fld id="{EF2F7A32-C1EA-4F7E-B0A2-7FCB5BFE90DE}" type="slidenum">
              <a:rPr lang="en-AU" smtClean="0"/>
              <a:pPr/>
              <a:t>‹N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45095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</p:sldLayoutIdLst>
  <p:hf hdr="0" ftr="0" dt="0"/>
  <p:txStyles>
    <p:titleStyle>
      <a:lvl1pPr marL="0" indent="0" algn="l" defTabSz="877802" rtl="0" eaLnBrk="1" latinLnBrk="0" hangingPunct="1">
        <a:lnSpc>
          <a:spcPct val="70000"/>
        </a:lnSpc>
        <a:spcBef>
          <a:spcPct val="0"/>
        </a:spcBef>
        <a:buNone/>
        <a:defRPr lang="en-US" sz="3456" b="0" i="0" kern="1200" cap="all" spc="0" baseline="0" dirty="0">
          <a:solidFill>
            <a:srgbClr val="A100FF"/>
          </a:solidFill>
          <a:latin typeface="+mj-lt"/>
          <a:ea typeface="+mj-ea"/>
          <a:cs typeface="+mj-cs"/>
        </a:defRPr>
      </a:lvl1pPr>
    </p:titleStyle>
    <p:bodyStyle>
      <a:lvl1pPr marL="0" indent="0" algn="l" defTabSz="87780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536" b="1" i="0" kern="1200" cap="none" baseline="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87780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lang="en-US" sz="1536" b="0" i="0" kern="1200" cap="none" baseline="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3736" indent="-173736" algn="l" defTabSz="877802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536" kern="1200">
          <a:solidFill>
            <a:schemeClr val="tx1"/>
          </a:solidFill>
          <a:latin typeface="+mn-lt"/>
          <a:ea typeface="+mn-ea"/>
          <a:cs typeface="+mn-cs"/>
        </a:defRPr>
      </a:lvl3pPr>
      <a:lvl4pPr marL="347472" indent="-161544" algn="l" defTabSz="877802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–"/>
        <a:defRPr sz="1536" kern="1200">
          <a:solidFill>
            <a:schemeClr val="tx1"/>
          </a:solidFill>
          <a:latin typeface="+mn-lt"/>
          <a:ea typeface="+mn-ea"/>
          <a:cs typeface="+mn-cs"/>
        </a:defRPr>
      </a:lvl4pPr>
      <a:lvl5pPr marL="521208" indent="-169164" algn="l" defTabSz="877802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536" kern="1200">
          <a:solidFill>
            <a:schemeClr val="tx1"/>
          </a:solidFill>
          <a:latin typeface="+mn-lt"/>
          <a:ea typeface="+mn-ea"/>
          <a:cs typeface="+mn-cs"/>
        </a:defRPr>
      </a:lvl5pPr>
      <a:lvl6pPr marL="492240" indent="-166113" algn="l" defTabSz="877802" rtl="0" eaLnBrk="1" latinLnBrk="0" hangingPunct="1">
        <a:lnSpc>
          <a:spcPct val="90000"/>
        </a:lnSpc>
        <a:spcBef>
          <a:spcPts val="480"/>
        </a:spcBef>
        <a:buFont typeface="Arial" panose="020B0604020202020204" pitchFamily="34" charset="0"/>
        <a:buChar char="•"/>
        <a:defRPr sz="1344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877802" rtl="0" eaLnBrk="1" latinLnBrk="0" hangingPunct="1">
        <a:lnSpc>
          <a:spcPct val="90000"/>
        </a:lnSpc>
        <a:spcBef>
          <a:spcPts val="768"/>
        </a:spcBef>
        <a:buFont typeface="Arial" panose="020B0604020202020204" pitchFamily="34" charset="0"/>
        <a:buNone/>
        <a:defRPr sz="1152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877802" rtl="0" eaLnBrk="1" latinLnBrk="0" hangingPunct="1">
        <a:lnSpc>
          <a:spcPct val="100000"/>
        </a:lnSpc>
        <a:spcBef>
          <a:spcPts val="0"/>
        </a:spcBef>
        <a:spcAft>
          <a:spcPts val="768"/>
        </a:spcAft>
        <a:buFont typeface="Arial" panose="020B0604020202020204" pitchFamily="34" charset="0"/>
        <a:buNone/>
        <a:defRPr sz="1728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77802" rtl="0" eaLnBrk="1" latinLnBrk="0" hangingPunct="1">
        <a:lnSpc>
          <a:spcPct val="110000"/>
        </a:lnSpc>
        <a:spcBef>
          <a:spcPts val="0"/>
        </a:spcBef>
        <a:spcAft>
          <a:spcPts val="576"/>
        </a:spcAft>
        <a:buFont typeface="Arial" panose="020B0604020202020204" pitchFamily="34" charset="0"/>
        <a:buNone/>
        <a:defRPr sz="11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7802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1pPr>
      <a:lvl2pPr marL="438901" algn="l" defTabSz="877802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2pPr>
      <a:lvl3pPr marL="877802" algn="l" defTabSz="877802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3pPr>
      <a:lvl4pPr marL="1316703" algn="l" defTabSz="877802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4pPr>
      <a:lvl5pPr marL="1755604" algn="l" defTabSz="877802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5pPr>
      <a:lvl6pPr marL="2194505" algn="l" defTabSz="877802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6pPr>
      <a:lvl7pPr marL="2633406" algn="l" defTabSz="877802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7pPr>
      <a:lvl8pPr marL="3072307" algn="l" defTabSz="877802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8pPr>
      <a:lvl9pPr marL="3511209" algn="l" defTabSz="877802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15">
          <p15:clr>
            <a:srgbClr val="F26B43"/>
          </p15:clr>
        </p15:guide>
        <p15:guide id="2" pos="5599">
          <p15:clr>
            <a:srgbClr val="F26B43"/>
          </p15:clr>
        </p15:guide>
        <p15:guide id="4" pos="208">
          <p15:clr>
            <a:srgbClr val="F26B43"/>
          </p15:clr>
        </p15:guide>
        <p15:guide id="5" orient="horz" pos="1417">
          <p15:clr>
            <a:srgbClr val="F26B43"/>
          </p15:clr>
        </p15:guide>
        <p15:guide id="6" orient="horz" pos="208">
          <p15:clr>
            <a:srgbClr val="F26B43"/>
          </p15:clr>
        </p15:guide>
        <p15:guide id="7" pos="6751">
          <p15:clr>
            <a:srgbClr val="F26B43"/>
          </p15:clr>
        </p15:guide>
        <p15:guide id="9" pos="924">
          <p15:clr>
            <a:srgbClr val="F26B43"/>
          </p15:clr>
        </p15:guide>
        <p15:guide id="10" orient="horz" pos="4110">
          <p15:clr>
            <a:srgbClr val="F26B43"/>
          </p15:clr>
        </p15:guide>
        <p15:guide id="11" pos="3726">
          <p15:clr>
            <a:srgbClr val="F26B43"/>
          </p15:clr>
        </p15:guide>
        <p15:guide id="13" pos="2081">
          <p15:clr>
            <a:srgbClr val="F26B43"/>
          </p15:clr>
        </p15:guide>
        <p15:guide id="14" pos="7467">
          <p15:clr>
            <a:srgbClr val="F26B43"/>
          </p15:clr>
        </p15:guide>
        <p15:guide id="15" orient="horz" pos="3814">
          <p15:clr>
            <a:srgbClr val="F26B43"/>
          </p15:clr>
        </p15:guide>
        <p15:guide id="16" orient="horz" pos="3240">
          <p15:clr>
            <a:srgbClr val="F26B43"/>
          </p15:clr>
        </p15:guide>
        <p15:guide id="17" pos="1147">
          <p15:clr>
            <a:srgbClr val="F26B43"/>
          </p15:clr>
        </p15:guide>
        <p15:guide id="18" pos="1858">
          <p15:clr>
            <a:srgbClr val="F26B43"/>
          </p15:clr>
        </p15:guide>
        <p15:guide id="19" pos="6528">
          <p15:clr>
            <a:srgbClr val="F26B43"/>
          </p15:clr>
        </p15:guide>
        <p15:guide id="20" pos="5822">
          <p15:clr>
            <a:srgbClr val="F26B43"/>
          </p15:clr>
        </p15:guide>
        <p15:guide id="21" pos="2792">
          <p15:clr>
            <a:srgbClr val="F26B43"/>
          </p15:clr>
        </p15:guide>
        <p15:guide id="22" pos="3015">
          <p15:clr>
            <a:srgbClr val="F26B43"/>
          </p15:clr>
        </p15:guide>
        <p15:guide id="23" pos="3949">
          <p15:clr>
            <a:srgbClr val="F26B43"/>
          </p15:clr>
        </p15:guide>
        <p15:guide id="24" pos="4660">
          <p15:clr>
            <a:srgbClr val="F26B43"/>
          </p15:clr>
        </p15:guide>
        <p15:guide id="25" pos="488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26" y="1526"/>
          <a:ext cx="1524" cy="15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16" imgH="216" progId="TCLayout.ActiveDocument.1">
                  <p:embed/>
                </p:oleObj>
              </mc:Choice>
              <mc:Fallback>
                <p:oleObj name="think-cell Slide" r:id="rId1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26" y="1526"/>
                        <a:ext cx="1524" cy="15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5C485D6-361F-44B0-B905-2B4C89A041BE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1"/>
            <a:ext cx="152404" cy="152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5631" b="0" i="0" baseline="0" dirty="0">
              <a:latin typeface="Sky Text" panose="020B0506040202020204" pitchFamily="34" charset="0"/>
              <a:ea typeface="+mj-ea"/>
              <a:cs typeface="+mj-cs"/>
              <a:sym typeface="Sky Text" panose="020B0506040202020204" pitchFamily="34" charset="0"/>
            </a:endParaRPr>
          </a:p>
        </p:txBody>
      </p:sp>
      <p:sp>
        <p:nvSpPr>
          <p:cNvPr id="7" name="Segnaposto titolo 1"/>
          <p:cNvSpPr>
            <a:spLocks noGrp="1"/>
          </p:cNvSpPr>
          <p:nvPr>
            <p:ph type="title"/>
          </p:nvPr>
        </p:nvSpPr>
        <p:spPr>
          <a:xfrm>
            <a:off x="585232" y="263642"/>
            <a:ext cx="10534174" cy="10972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8" name="Segnaposto testo 2"/>
          <p:cNvSpPr>
            <a:spLocks noGrp="1"/>
          </p:cNvSpPr>
          <p:nvPr>
            <p:ph type="body" idx="1"/>
          </p:nvPr>
        </p:nvSpPr>
        <p:spPr>
          <a:xfrm>
            <a:off x="585232" y="1536121"/>
            <a:ext cx="10534174" cy="43447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698083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</p:sldLayoutIdLst>
  <p:hf sldNum="0" hdr="0" ftr="0" dt="0"/>
  <p:txStyles>
    <p:titleStyle>
      <a:lvl1pPr algn="ctr" defTabSz="1170300" rtl="0" eaLnBrk="1" latinLnBrk="0" hangingPunct="1">
        <a:spcBef>
          <a:spcPct val="0"/>
        </a:spcBef>
        <a:buNone/>
        <a:defRPr sz="56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8863" indent="-438863" algn="l" defTabSz="1170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4095" kern="1200">
          <a:solidFill>
            <a:schemeClr val="tx1"/>
          </a:solidFill>
          <a:latin typeface="+mn-lt"/>
          <a:ea typeface="+mn-ea"/>
          <a:cs typeface="+mn-cs"/>
        </a:defRPr>
      </a:lvl1pPr>
      <a:lvl2pPr marL="950868" indent="-365719" algn="l" defTabSz="1170300" rtl="0" eaLnBrk="1" latinLnBrk="0" hangingPunct="1">
        <a:spcBef>
          <a:spcPct val="20000"/>
        </a:spcBef>
        <a:buFont typeface="Arial" panose="020B0604020202020204" pitchFamily="34" charset="0"/>
        <a:buChar char="–"/>
        <a:defRPr sz="3584" kern="1200">
          <a:solidFill>
            <a:schemeClr val="tx1"/>
          </a:solidFill>
          <a:latin typeface="+mn-lt"/>
          <a:ea typeface="+mn-ea"/>
          <a:cs typeface="+mn-cs"/>
        </a:defRPr>
      </a:lvl2pPr>
      <a:lvl3pPr marL="1462874" indent="-292574" algn="l" defTabSz="1170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072" kern="1200">
          <a:solidFill>
            <a:schemeClr val="tx1"/>
          </a:solidFill>
          <a:latin typeface="+mn-lt"/>
          <a:ea typeface="+mn-ea"/>
          <a:cs typeface="+mn-cs"/>
        </a:defRPr>
      </a:lvl3pPr>
      <a:lvl4pPr marL="2048022" indent="-292574" algn="l" defTabSz="11703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559" kern="1200">
          <a:solidFill>
            <a:schemeClr val="tx1"/>
          </a:solidFill>
          <a:latin typeface="+mn-lt"/>
          <a:ea typeface="+mn-ea"/>
          <a:cs typeface="+mn-cs"/>
        </a:defRPr>
      </a:lvl4pPr>
      <a:lvl5pPr marL="2633172" indent="-292574" algn="l" defTabSz="1170300" rtl="0" eaLnBrk="1" latinLnBrk="0" hangingPunct="1">
        <a:spcBef>
          <a:spcPct val="20000"/>
        </a:spcBef>
        <a:buFont typeface="Arial" panose="020B0604020202020204" pitchFamily="34" charset="0"/>
        <a:buChar char="»"/>
        <a:defRPr sz="2559" kern="1200">
          <a:solidFill>
            <a:schemeClr val="tx1"/>
          </a:solidFill>
          <a:latin typeface="+mn-lt"/>
          <a:ea typeface="+mn-ea"/>
          <a:cs typeface="+mn-cs"/>
        </a:defRPr>
      </a:lvl5pPr>
      <a:lvl6pPr marL="3218321" indent="-292574" algn="l" defTabSz="1170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559" kern="1200">
          <a:solidFill>
            <a:schemeClr val="tx1"/>
          </a:solidFill>
          <a:latin typeface="+mn-lt"/>
          <a:ea typeface="+mn-ea"/>
          <a:cs typeface="+mn-cs"/>
        </a:defRPr>
      </a:lvl6pPr>
      <a:lvl7pPr marL="3803471" indent="-292574" algn="l" defTabSz="1170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559" kern="1200">
          <a:solidFill>
            <a:schemeClr val="tx1"/>
          </a:solidFill>
          <a:latin typeface="+mn-lt"/>
          <a:ea typeface="+mn-ea"/>
          <a:cs typeface="+mn-cs"/>
        </a:defRPr>
      </a:lvl7pPr>
      <a:lvl8pPr marL="4388620" indent="-292574" algn="l" defTabSz="1170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559" kern="1200">
          <a:solidFill>
            <a:schemeClr val="tx1"/>
          </a:solidFill>
          <a:latin typeface="+mn-lt"/>
          <a:ea typeface="+mn-ea"/>
          <a:cs typeface="+mn-cs"/>
        </a:defRPr>
      </a:lvl8pPr>
      <a:lvl9pPr marL="4973769" indent="-292574" algn="l" defTabSz="11703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5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1170300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1pPr>
      <a:lvl2pPr marL="585150" algn="l" defTabSz="1170300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2pPr>
      <a:lvl3pPr marL="1170300" algn="l" defTabSz="1170300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3pPr>
      <a:lvl4pPr marL="1755448" algn="l" defTabSz="1170300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4pPr>
      <a:lvl5pPr marL="2340597" algn="l" defTabSz="1170300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5pPr>
      <a:lvl6pPr marL="2925747" algn="l" defTabSz="1170300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6pPr>
      <a:lvl7pPr marL="3510897" algn="l" defTabSz="1170300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7pPr>
      <a:lvl8pPr marL="4096045" algn="l" defTabSz="1170300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8pPr>
      <a:lvl9pPr marL="4681195" algn="l" defTabSz="1170300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ipe.net/publications/docs/ripe-690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chart" Target="../charts/chart1.xm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3" Type="http://schemas.openxmlformats.org/officeDocument/2006/relationships/image" Target="../media/image19.png"/><Relationship Id="rId21" Type="http://schemas.openxmlformats.org/officeDocument/2006/relationships/image" Target="../media/image37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A92006DA-2D70-B61F-6BB9-357696738A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1703050" cy="6583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186FA9D8-A014-BC77-19C8-2F7ADE6905EF}"/>
              </a:ext>
            </a:extLst>
          </p:cNvPr>
          <p:cNvSpPr txBox="1"/>
          <p:nvPr/>
        </p:nvSpPr>
        <p:spPr>
          <a:xfrm>
            <a:off x="3780988" y="269000"/>
            <a:ext cx="3463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600" dirty="0">
                <a:latin typeface="+mj-lt"/>
              </a:rPr>
              <a:t>SKY WIFI &amp; IPv6</a:t>
            </a:r>
            <a:endParaRPr lang="it-IT" sz="3200" dirty="0">
              <a:latin typeface="+mj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66177757-682B-90F1-0984-8C8DCF52FE0C}"/>
              </a:ext>
            </a:extLst>
          </p:cNvPr>
          <p:cNvSpPr txBox="1"/>
          <p:nvPr/>
        </p:nvSpPr>
        <p:spPr>
          <a:xfrm>
            <a:off x="110837" y="5753327"/>
            <a:ext cx="346363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dirty="0">
                <a:latin typeface="+mj-lt"/>
              </a:rPr>
              <a:t>Simone Carturan</a:t>
            </a:r>
          </a:p>
          <a:p>
            <a:r>
              <a:rPr lang="it-IT" sz="1400" dirty="0">
                <a:latin typeface="+mj-lt"/>
              </a:rPr>
              <a:t>(Network Architect)</a:t>
            </a:r>
          </a:p>
          <a:p>
            <a:r>
              <a:rPr lang="it-IT" sz="1400" dirty="0">
                <a:latin typeface="+mj-lt"/>
              </a:rPr>
              <a:t>simone.carturan@skytv.it</a:t>
            </a:r>
          </a:p>
        </p:txBody>
      </p:sp>
    </p:spTree>
    <p:extLst>
      <p:ext uri="{BB962C8B-B14F-4D97-AF65-F5344CB8AC3E}">
        <p14:creationId xmlns:p14="http://schemas.microsoft.com/office/powerpoint/2010/main" val="311551504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4">
            <a:extLst>
              <a:ext uri="{FF2B5EF4-FFF2-40B4-BE49-F238E27FC236}">
                <a16:creationId xmlns:a16="http://schemas.microsoft.com/office/drawing/2014/main" id="{D540E193-897D-2F55-29AD-E11B0BDF75DA}"/>
              </a:ext>
            </a:extLst>
          </p:cNvPr>
          <p:cNvSpPr/>
          <p:nvPr/>
        </p:nvSpPr>
        <p:spPr>
          <a:xfrm>
            <a:off x="671406" y="1042219"/>
            <a:ext cx="10754325" cy="5101405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</a:rPr>
              <a:t>Green-field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 network</a:t>
            </a:r>
          </a:p>
          <a:p>
            <a:endParaRPr lang="en-US" sz="1600" dirty="0">
              <a:solidFill>
                <a:schemeClr val="tx1"/>
              </a:solidFill>
              <a:latin typeface="+mj-lt"/>
            </a:endParaRPr>
          </a:p>
          <a:p>
            <a:endParaRPr lang="en-US" sz="1600" dirty="0">
              <a:solidFill>
                <a:schemeClr val="tx1"/>
              </a:solidFill>
              <a:latin typeface="+mj-lt"/>
            </a:endParaRPr>
          </a:p>
          <a:p>
            <a:r>
              <a:rPr lang="en-US" sz="1600" dirty="0">
                <a:solidFill>
                  <a:schemeClr val="tx1"/>
                </a:solidFill>
                <a:latin typeface="+mj-lt"/>
              </a:rPr>
              <a:t>GPON and VDSL2, support native Ethernet framing</a:t>
            </a:r>
            <a:r>
              <a:rPr lang="en-GB" sz="1600" dirty="0">
                <a:solidFill>
                  <a:schemeClr val="tx1"/>
                </a:solidFill>
                <a:latin typeface="+mj-lt"/>
              </a:rPr>
              <a:t>.</a:t>
            </a:r>
          </a:p>
          <a:p>
            <a:endParaRPr lang="en-GB" sz="1600" dirty="0">
              <a:solidFill>
                <a:schemeClr val="tx1"/>
              </a:solidFill>
              <a:latin typeface="+mj-lt"/>
            </a:endParaRPr>
          </a:p>
          <a:p>
            <a:endParaRPr lang="en-US" sz="1600" dirty="0">
              <a:solidFill>
                <a:schemeClr val="tx1"/>
              </a:solidFill>
              <a:latin typeface="+mj-lt"/>
            </a:endParaRPr>
          </a:p>
          <a:p>
            <a:r>
              <a:rPr lang="en-US" sz="1600" b="1" dirty="0">
                <a:solidFill>
                  <a:schemeClr val="tx1"/>
                </a:solidFill>
                <a:latin typeface="+mj-lt"/>
              </a:rPr>
              <a:t>Overhead efficiency 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compared with </a:t>
            </a:r>
            <a:r>
              <a:rPr lang="en-US" sz="1600" dirty="0" err="1">
                <a:solidFill>
                  <a:schemeClr val="tx1"/>
                </a:solidFill>
                <a:latin typeface="+mj-lt"/>
              </a:rPr>
              <a:t>PPPoE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 (+8bytes)</a:t>
            </a:r>
            <a:endParaRPr lang="en-GB" sz="1600" dirty="0">
              <a:solidFill>
                <a:schemeClr val="tx1"/>
              </a:solidFill>
              <a:latin typeface="+mj-lt"/>
            </a:endParaRPr>
          </a:p>
          <a:p>
            <a:r>
              <a:rPr lang="en-US" sz="1400" dirty="0">
                <a:solidFill>
                  <a:schemeClr val="tx1"/>
                </a:solidFill>
                <a:latin typeface="+mj-lt"/>
              </a:rPr>
              <a:t>No need for tunneling and encapsulation protocols</a:t>
            </a: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endParaRPr lang="en-US" sz="1600" dirty="0">
              <a:solidFill>
                <a:schemeClr val="tx1"/>
              </a:solidFill>
              <a:latin typeface="+mj-lt"/>
            </a:endParaRPr>
          </a:p>
          <a:p>
            <a:r>
              <a:rPr lang="en-US" sz="1600" dirty="0">
                <a:solidFill>
                  <a:schemeClr val="tx1"/>
                </a:solidFill>
                <a:latin typeface="+mj-lt"/>
              </a:rPr>
              <a:t>Uses 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DHCPv6 Option 37: Remote-ID 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(Port Based Authentication)</a:t>
            </a:r>
          </a:p>
          <a:p>
            <a:r>
              <a:rPr lang="en-US" sz="1400" dirty="0">
                <a:solidFill>
                  <a:schemeClr val="tx1"/>
                </a:solidFill>
                <a:latin typeface="+mj-lt"/>
              </a:rPr>
              <a:t>No use CHAP-style &lt;</a:t>
            </a:r>
            <a:r>
              <a:rPr lang="en-US" sz="1400" dirty="0" err="1">
                <a:solidFill>
                  <a:schemeClr val="tx1"/>
                </a:solidFill>
                <a:latin typeface="+mj-lt"/>
              </a:rPr>
              <a:t>username@domain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&gt; + &lt;password&gt; for authentication</a:t>
            </a:r>
            <a:endParaRPr lang="it-IT" sz="1400" dirty="0">
              <a:solidFill>
                <a:schemeClr val="tx1"/>
              </a:solidFill>
              <a:latin typeface="+mj-lt"/>
            </a:endParaRPr>
          </a:p>
          <a:p>
            <a:pPr algn="ctr" defTabSz="877824">
              <a:defRPr/>
            </a:pPr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80C64C27-740A-FC3C-6722-6CF94DC20FB4}"/>
              </a:ext>
            </a:extLst>
          </p:cNvPr>
          <p:cNvSpPr txBox="1">
            <a:spLocks/>
          </p:cNvSpPr>
          <p:nvPr/>
        </p:nvSpPr>
        <p:spPr>
          <a:xfrm>
            <a:off x="4579391" y="833485"/>
            <a:ext cx="3057832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 err="1">
                <a:latin typeface="Sky Text"/>
              </a:rPr>
              <a:t>IPoE</a:t>
            </a:r>
            <a:r>
              <a:rPr lang="en-US" sz="1920" b="1" dirty="0">
                <a:latin typeface="Sky Text"/>
              </a:rPr>
              <a:t> Authentication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IPv6 Experience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AF9DE08E-A8A5-3272-82F5-B925B8235A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9975" y="3178943"/>
            <a:ext cx="3700463" cy="2713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18E3603D-D170-1167-C2E3-8AA2ED34A6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1992" y="1165944"/>
            <a:ext cx="3816427" cy="176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10559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IPv6 Experience</a:t>
            </a:r>
          </a:p>
        </p:txBody>
      </p:sp>
      <p:sp>
        <p:nvSpPr>
          <p:cNvPr id="14" name="Rectangle 124">
            <a:extLst>
              <a:ext uri="{FF2B5EF4-FFF2-40B4-BE49-F238E27FC236}">
                <a16:creationId xmlns:a16="http://schemas.microsoft.com/office/drawing/2014/main" id="{005B5C66-045D-127F-9624-FF515DF949A4}"/>
              </a:ext>
            </a:extLst>
          </p:cNvPr>
          <p:cNvSpPr/>
          <p:nvPr/>
        </p:nvSpPr>
        <p:spPr>
          <a:xfrm>
            <a:off x="692069" y="1142999"/>
            <a:ext cx="9998030" cy="5038726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latin typeface="+mj-lt"/>
              </a:rPr>
              <a:t>Sky Italia, few years ago, has purchased a /13 (524,288 IPv4 addresses) from the open market, and assigned a </a:t>
            </a:r>
            <a:r>
              <a:rPr lang="it-IT" sz="1400" dirty="0">
                <a:solidFill>
                  <a:schemeClr val="tx1"/>
                </a:solidFill>
                <a:latin typeface="+mj-lt"/>
              </a:rPr>
              <a:t>/25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IPv6 address space by RIR.</a:t>
            </a: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r>
              <a:rPr lang="en-US" sz="1400" dirty="0">
                <a:solidFill>
                  <a:schemeClr val="tx1"/>
                </a:solidFill>
                <a:latin typeface="+mj-lt"/>
              </a:rPr>
              <a:t>Each Sky Hub obtains is assigned a Prefix Delegation of size /48 by using stateful DHCPv6 PD.</a:t>
            </a:r>
            <a:r>
              <a:rPr lang="it-IT" sz="1400" dirty="0">
                <a:solidFill>
                  <a:schemeClr val="tx1"/>
                </a:solidFill>
                <a:latin typeface="+mj-lt"/>
              </a:rPr>
              <a:t> </a:t>
            </a:r>
          </a:p>
          <a:p>
            <a:r>
              <a:rPr lang="it-IT" sz="1200" dirty="0">
                <a:solidFill>
                  <a:schemeClr val="tx1"/>
                </a:solidFill>
                <a:latin typeface="+mj-lt"/>
              </a:rPr>
              <a:t>(</a:t>
            </a:r>
            <a:r>
              <a:rPr lang="it-IT" sz="1200" dirty="0" err="1">
                <a:solidFill>
                  <a:schemeClr val="tx1"/>
                </a:solidFill>
                <a:latin typeface="+mj-lt"/>
              </a:rPr>
              <a:t>Recommended</a:t>
            </a:r>
            <a:r>
              <a:rPr lang="it-IT" sz="1200" dirty="0">
                <a:solidFill>
                  <a:schemeClr val="tx1"/>
                </a:solidFill>
                <a:latin typeface="+mj-lt"/>
              </a:rPr>
              <a:t> by </a:t>
            </a:r>
            <a:r>
              <a:rPr lang="it-IT" sz="1200" dirty="0">
                <a:solidFill>
                  <a:schemeClr val="tx1"/>
                </a:solidFill>
                <a:latin typeface="+mj-lt"/>
                <a:hlinkClick r:id="rId3" tooltip="https://www.ripe.net/publications/docs/ripe-69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PE-690 BCOP</a:t>
            </a:r>
            <a:r>
              <a:rPr lang="it-IT" sz="1200" dirty="0">
                <a:solidFill>
                  <a:schemeClr val="tx1"/>
                </a:solidFill>
                <a:latin typeface="+mj-lt"/>
              </a:rPr>
              <a:t>)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r>
              <a:rPr lang="en-US" sz="1400" dirty="0">
                <a:solidFill>
                  <a:schemeClr val="tx1"/>
                </a:solidFill>
                <a:latin typeface="+mj-lt"/>
              </a:rPr>
              <a:t>An IPv6 prefix of /48 contains 65,535 x /64 prefixes.   2^(64-48)</a:t>
            </a: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r>
              <a:rPr lang="en-US" sz="1400" dirty="0">
                <a:solidFill>
                  <a:schemeClr val="tx1"/>
                </a:solidFill>
                <a:latin typeface="+mj-lt"/>
              </a:rPr>
              <a:t>The Sky Hub currently only uses a single /64 for the LAN (incl. </a:t>
            </a:r>
            <a:r>
              <a:rPr lang="en-US" sz="1400" dirty="0" err="1">
                <a:solidFill>
                  <a:schemeClr val="tx1"/>
                </a:solidFill>
                <a:latin typeface="+mj-lt"/>
              </a:rPr>
              <a:t>wifi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). </a:t>
            </a:r>
          </a:p>
          <a:p>
            <a:r>
              <a:rPr lang="en-US" sz="1200" i="1" dirty="0">
                <a:solidFill>
                  <a:schemeClr val="tx1"/>
                </a:solidFill>
                <a:latin typeface="+mj-lt"/>
              </a:rPr>
              <a:t>Remaining prefixes are available for future use. (IoT, Guest </a:t>
            </a:r>
            <a:r>
              <a:rPr lang="en-US" sz="1200" i="1" dirty="0" err="1">
                <a:solidFill>
                  <a:schemeClr val="tx1"/>
                </a:solidFill>
                <a:latin typeface="+mj-lt"/>
              </a:rPr>
              <a:t>Wifi</a:t>
            </a:r>
            <a:r>
              <a:rPr lang="en-US" sz="1200" i="1" dirty="0">
                <a:solidFill>
                  <a:schemeClr val="tx1"/>
                </a:solidFill>
                <a:latin typeface="+mj-lt"/>
              </a:rPr>
              <a:t>, etc.)</a:t>
            </a: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r>
              <a:rPr lang="en-US" sz="1400" dirty="0">
                <a:solidFill>
                  <a:schemeClr val="tx1"/>
                </a:solidFill>
                <a:latin typeface="+mj-lt"/>
              </a:rPr>
              <a:t>LAN-side devices acquire IPv6 addressing by using Stateless Address Auto-Configuration (SLAAC).</a:t>
            </a:r>
          </a:p>
          <a:p>
            <a:r>
              <a:rPr lang="en-US" sz="1200" i="1" dirty="0">
                <a:solidFill>
                  <a:schemeClr val="tx1"/>
                </a:solidFill>
                <a:latin typeface="+mj-lt"/>
              </a:rPr>
              <a:t>The Sky Hub doesn’t assign IPv6 addresses, it simply advertises the /64 prefix on the LAN and the client devices choose their own address.</a:t>
            </a: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4057DD0D-909F-62DA-7799-A86EAF088C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7650" y="5181860"/>
            <a:ext cx="6598267" cy="724720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9082A6CE-91E0-66E0-3C07-76DBC671D403}"/>
              </a:ext>
            </a:extLst>
          </p:cNvPr>
          <p:cNvSpPr txBox="1">
            <a:spLocks/>
          </p:cNvSpPr>
          <p:nvPr/>
        </p:nvSpPr>
        <p:spPr>
          <a:xfrm>
            <a:off x="4162168" y="933958"/>
            <a:ext cx="3057832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How are we using it?</a:t>
            </a:r>
          </a:p>
        </p:txBody>
      </p:sp>
    </p:spTree>
    <p:extLst>
      <p:ext uri="{BB962C8B-B14F-4D97-AF65-F5344CB8AC3E}">
        <p14:creationId xmlns:p14="http://schemas.microsoft.com/office/powerpoint/2010/main" val="307279930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124">
            <a:extLst>
              <a:ext uri="{FF2B5EF4-FFF2-40B4-BE49-F238E27FC236}">
                <a16:creationId xmlns:a16="http://schemas.microsoft.com/office/drawing/2014/main" id="{7CB1BFB2-CDF4-D1C9-9B7C-A32E6D6A846B}"/>
              </a:ext>
            </a:extLst>
          </p:cNvPr>
          <p:cNvSpPr/>
          <p:nvPr/>
        </p:nvSpPr>
        <p:spPr>
          <a:xfrm>
            <a:off x="771312" y="3076575"/>
            <a:ext cx="10459793" cy="321132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AU" sz="12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26" name="Rectangle 124">
            <a:extLst>
              <a:ext uri="{FF2B5EF4-FFF2-40B4-BE49-F238E27FC236}">
                <a16:creationId xmlns:a16="http://schemas.microsoft.com/office/drawing/2014/main" id="{214B1026-94D2-BB0D-8F5F-84135327D3A9}"/>
              </a:ext>
            </a:extLst>
          </p:cNvPr>
          <p:cNvSpPr/>
          <p:nvPr/>
        </p:nvSpPr>
        <p:spPr>
          <a:xfrm>
            <a:off x="757131" y="985794"/>
            <a:ext cx="10459793" cy="1806262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400" b="0" i="0" dirty="0">
                <a:solidFill>
                  <a:srgbClr val="172B4D"/>
                </a:solidFill>
                <a:effectLst/>
                <a:latin typeface="+mj-lt"/>
              </a:rPr>
              <a:t>Mapping of Address + Port (MAP) is a stateless </a:t>
            </a:r>
            <a:r>
              <a:rPr lang="en-US" sz="1400" b="1" i="0" dirty="0">
                <a:solidFill>
                  <a:srgbClr val="172B4D"/>
                </a:solidFill>
                <a:effectLst/>
                <a:latin typeface="+mj-lt"/>
              </a:rPr>
              <a:t>IPv4-as-a-Service (IPv4aaS) </a:t>
            </a:r>
            <a:r>
              <a:rPr lang="en-US" sz="1400" b="0" i="0" dirty="0">
                <a:solidFill>
                  <a:srgbClr val="172B4D"/>
                </a:solidFill>
                <a:effectLst/>
                <a:latin typeface="+mj-lt"/>
              </a:rPr>
              <a:t>technology, delivering IPv4 connectivity via IPv6 infrastructure.</a:t>
            </a:r>
          </a:p>
          <a:p>
            <a:pPr algn="l"/>
            <a:r>
              <a:rPr lang="en-US" sz="1400" b="0" i="0" dirty="0">
                <a:solidFill>
                  <a:srgbClr val="172B4D"/>
                </a:solidFill>
                <a:effectLst/>
                <a:latin typeface="+mj-lt"/>
              </a:rPr>
              <a:t>The biggest drawcard for MAP is that it is </a:t>
            </a:r>
            <a:r>
              <a:rPr lang="en-US" sz="1400" b="1" i="0" dirty="0">
                <a:solidFill>
                  <a:srgbClr val="172B4D"/>
                </a:solidFill>
                <a:effectLst/>
                <a:latin typeface="+mj-lt"/>
              </a:rPr>
              <a:t>stateless</a:t>
            </a:r>
            <a:r>
              <a:rPr lang="en-US" sz="1400" b="0" i="0" dirty="0">
                <a:solidFill>
                  <a:srgbClr val="172B4D"/>
                </a:solidFill>
                <a:effectLst/>
                <a:latin typeface="+mj-lt"/>
              </a:rPr>
              <a:t>; it means that devices doing the NAT64 translation, do not have to track of every flow that they're forwarding.</a:t>
            </a:r>
          </a:p>
          <a:p>
            <a:pPr algn="l"/>
            <a:r>
              <a:rPr lang="en-US" sz="1400" b="0" i="0" dirty="0">
                <a:solidFill>
                  <a:srgbClr val="172B4D"/>
                </a:solidFill>
                <a:effectLst/>
                <a:latin typeface="+mj-lt"/>
              </a:rPr>
              <a:t>MAP achieves this statelessness by using predefined translation algorithms, or rules, communicated to the MAP devices.</a:t>
            </a:r>
            <a:endParaRPr lang="en-AU" sz="12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MAP-T</a:t>
            </a:r>
          </a:p>
        </p:txBody>
      </p:sp>
      <p:sp>
        <p:nvSpPr>
          <p:cNvPr id="13" name="Content Placeholder 20">
            <a:extLst>
              <a:ext uri="{FF2B5EF4-FFF2-40B4-BE49-F238E27FC236}">
                <a16:creationId xmlns:a16="http://schemas.microsoft.com/office/drawing/2014/main" id="{CB4E3923-CF64-74ED-A8D6-5FF977A2C5C0}"/>
              </a:ext>
            </a:extLst>
          </p:cNvPr>
          <p:cNvSpPr txBox="1">
            <a:spLocks noChangeArrowheads="1"/>
          </p:cNvSpPr>
          <p:nvPr/>
        </p:nvSpPr>
        <p:spPr>
          <a:xfrm>
            <a:off x="1213986" y="3397495"/>
            <a:ext cx="1843539" cy="538841"/>
          </a:xfrm>
          <a:prstGeom prst="rect">
            <a:avLst/>
          </a:prstGeom>
        </p:spPr>
        <p:txBody>
          <a:bodyPr/>
          <a:lstStyle>
            <a:lvl1pPr marL="438891" indent="-438891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40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50928" indent="-365742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2968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0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48153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33340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18527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3714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88901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087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85186" lvl="1" indent="0">
              <a:buNone/>
            </a:pPr>
            <a:r>
              <a:rPr lang="en-US" altLang="en-US" sz="1100" dirty="0">
                <a:latin typeface="Sky Text" panose="020B0506040202020204" pitchFamily="34" charset="0"/>
              </a:rPr>
              <a:t>Stateful NAPT44 on the Sky Hub (”Regular NAT”)</a:t>
            </a:r>
          </a:p>
          <a:p>
            <a:pPr marL="585186" lvl="1" indent="0">
              <a:buNone/>
            </a:pPr>
            <a:endParaRPr lang="en-US" altLang="en-US" sz="1100" dirty="0">
              <a:latin typeface="Sky Text" panose="020B0506040202020204" pitchFamily="34" charset="0"/>
            </a:endParaRPr>
          </a:p>
        </p:txBody>
      </p:sp>
      <p:pic>
        <p:nvPicPr>
          <p:cNvPr id="23" name="Immagine 22">
            <a:extLst>
              <a:ext uri="{FF2B5EF4-FFF2-40B4-BE49-F238E27FC236}">
                <a16:creationId xmlns:a16="http://schemas.microsoft.com/office/drawing/2014/main" id="{1423FAD2-4B57-AD7F-C535-83D1CDDA64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0409" y="3948790"/>
            <a:ext cx="7712275" cy="233910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7" name="Title 2">
            <a:extLst>
              <a:ext uri="{FF2B5EF4-FFF2-40B4-BE49-F238E27FC236}">
                <a16:creationId xmlns:a16="http://schemas.microsoft.com/office/drawing/2014/main" id="{F1DBD971-E8A4-C6E0-AF07-8A5F0EF62743}"/>
              </a:ext>
            </a:extLst>
          </p:cNvPr>
          <p:cNvSpPr txBox="1">
            <a:spLocks/>
          </p:cNvSpPr>
          <p:nvPr/>
        </p:nvSpPr>
        <p:spPr>
          <a:xfrm>
            <a:off x="4323403" y="759451"/>
            <a:ext cx="3057832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Definition</a:t>
            </a:r>
          </a:p>
        </p:txBody>
      </p:sp>
      <p:sp>
        <p:nvSpPr>
          <p:cNvPr id="29" name="Content Placeholder 20">
            <a:extLst>
              <a:ext uri="{FF2B5EF4-FFF2-40B4-BE49-F238E27FC236}">
                <a16:creationId xmlns:a16="http://schemas.microsoft.com/office/drawing/2014/main" id="{1C182C0E-0241-6671-5506-DC02A265353D}"/>
              </a:ext>
            </a:extLst>
          </p:cNvPr>
          <p:cNvSpPr txBox="1">
            <a:spLocks noChangeArrowheads="1"/>
          </p:cNvSpPr>
          <p:nvPr/>
        </p:nvSpPr>
        <p:spPr>
          <a:xfrm>
            <a:off x="2474132" y="3384378"/>
            <a:ext cx="1508577" cy="550918"/>
          </a:xfrm>
          <a:prstGeom prst="rect">
            <a:avLst/>
          </a:prstGeom>
        </p:spPr>
        <p:txBody>
          <a:bodyPr/>
          <a:lstStyle>
            <a:lvl1pPr marL="438891" indent="-438891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40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50928" indent="-365742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2968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0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48153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33340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18527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3714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88901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087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85186" lvl="1" indent="0">
              <a:buNone/>
            </a:pPr>
            <a:r>
              <a:rPr lang="en-US" altLang="en-US" sz="1100" dirty="0">
                <a:latin typeface="Sky Text" panose="020B0506040202020204" pitchFamily="34" charset="0"/>
              </a:rPr>
              <a:t>Stateless NAT46 on the Sky Hub</a:t>
            </a:r>
          </a:p>
        </p:txBody>
      </p:sp>
      <p:sp>
        <p:nvSpPr>
          <p:cNvPr id="30" name="Title 2">
            <a:extLst>
              <a:ext uri="{FF2B5EF4-FFF2-40B4-BE49-F238E27FC236}">
                <a16:creationId xmlns:a16="http://schemas.microsoft.com/office/drawing/2014/main" id="{B2689858-4083-2789-9B98-E66FCB596B32}"/>
              </a:ext>
            </a:extLst>
          </p:cNvPr>
          <p:cNvSpPr txBox="1">
            <a:spLocks/>
          </p:cNvSpPr>
          <p:nvPr/>
        </p:nvSpPr>
        <p:spPr>
          <a:xfrm>
            <a:off x="4223207" y="2883124"/>
            <a:ext cx="3487919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3 distinct points of translation</a:t>
            </a:r>
          </a:p>
        </p:txBody>
      </p:sp>
      <p:sp>
        <p:nvSpPr>
          <p:cNvPr id="31" name="Content Placeholder 20">
            <a:extLst>
              <a:ext uri="{FF2B5EF4-FFF2-40B4-BE49-F238E27FC236}">
                <a16:creationId xmlns:a16="http://schemas.microsoft.com/office/drawing/2014/main" id="{6A655EE7-17FC-9D3C-53D3-EA737A72F768}"/>
              </a:ext>
            </a:extLst>
          </p:cNvPr>
          <p:cNvSpPr txBox="1">
            <a:spLocks noChangeArrowheads="1"/>
          </p:cNvSpPr>
          <p:nvPr/>
        </p:nvSpPr>
        <p:spPr>
          <a:xfrm>
            <a:off x="4995069" y="3392274"/>
            <a:ext cx="2157566" cy="509007"/>
          </a:xfrm>
          <a:prstGeom prst="rect">
            <a:avLst/>
          </a:prstGeom>
        </p:spPr>
        <p:txBody>
          <a:bodyPr/>
          <a:lstStyle>
            <a:lvl1pPr marL="438891" indent="-438891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40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50928" indent="-365742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2968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0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48153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33340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18527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3714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88901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087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85186" lvl="1" indent="0">
              <a:buNone/>
            </a:pPr>
            <a:r>
              <a:rPr lang="en-US" altLang="en-US" sz="1100" dirty="0">
                <a:latin typeface="Sky Text" panose="020B0506040202020204" pitchFamily="34" charset="0"/>
              </a:rPr>
              <a:t>Stateless NAT64 on the MAP Border Relay (embedded on BNG)</a:t>
            </a:r>
          </a:p>
          <a:p>
            <a:pPr marL="585186" lvl="1" indent="0">
              <a:buNone/>
            </a:pPr>
            <a:endParaRPr lang="en-US" altLang="en-US" sz="1100" dirty="0">
              <a:latin typeface="Sky Text" panose="020B0506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141024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4">
            <a:extLst>
              <a:ext uri="{FF2B5EF4-FFF2-40B4-BE49-F238E27FC236}">
                <a16:creationId xmlns:a16="http://schemas.microsoft.com/office/drawing/2014/main" id="{E5BA1B1A-086E-8815-4D6E-3078F96B84CF}"/>
              </a:ext>
            </a:extLst>
          </p:cNvPr>
          <p:cNvSpPr/>
          <p:nvPr/>
        </p:nvSpPr>
        <p:spPr>
          <a:xfrm>
            <a:off x="732520" y="898524"/>
            <a:ext cx="10459793" cy="5389374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defTabSz="1123615">
              <a:spcBef>
                <a:spcPts val="737"/>
              </a:spcBef>
              <a:buFont typeface="Arial" panose="020B0604020202020204" pitchFamily="34" charset="0"/>
              <a:buNone/>
              <a:defRPr/>
            </a:pPr>
            <a:endParaRPr lang="en-US" sz="700" dirty="0">
              <a:solidFill>
                <a:schemeClr val="tx1"/>
              </a:solidFill>
              <a:latin typeface="Sky Text" panose="020B0506040202020204" pitchFamily="34" charset="0"/>
            </a:endParaRPr>
          </a:p>
          <a:p>
            <a:pPr marL="0" indent="0" defTabSz="1123615">
              <a:spcBef>
                <a:spcPts val="737"/>
              </a:spcBef>
              <a:buFont typeface="Arial" panose="020B0604020202020204" pitchFamily="34" charset="0"/>
              <a:buNone/>
              <a:defRPr/>
            </a:pP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The DMR is a mandatory rule and tells the </a:t>
            </a:r>
            <a:r>
              <a:rPr lang="en-US" sz="1600" b="1" dirty="0">
                <a:solidFill>
                  <a:schemeClr val="tx1"/>
                </a:solidFill>
                <a:latin typeface="Sky Text" panose="020B0506040202020204" pitchFamily="34" charset="0"/>
              </a:rPr>
              <a:t>MAP CE </a:t>
            </a: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what </a:t>
            </a:r>
            <a:r>
              <a:rPr lang="en-US" sz="1600" b="1" dirty="0">
                <a:solidFill>
                  <a:schemeClr val="tx1"/>
                </a:solidFill>
                <a:latin typeface="Sky Text" panose="020B0506040202020204" pitchFamily="34" charset="0"/>
              </a:rPr>
              <a:t>IPv6 prefix</a:t>
            </a: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 to use when translating an </a:t>
            </a:r>
            <a:r>
              <a:rPr lang="en-US" sz="1600" b="1" dirty="0">
                <a:solidFill>
                  <a:schemeClr val="tx1"/>
                </a:solidFill>
                <a:latin typeface="Sky Text" panose="020B0506040202020204" pitchFamily="34" charset="0"/>
              </a:rPr>
              <a:t>IPv4 destination address </a:t>
            </a: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outside of the MAP domain, to an IPv6 address. (and vice versa).</a:t>
            </a:r>
            <a:r>
              <a:rPr lang="en-US" sz="1100" dirty="0">
                <a:latin typeface="Sky Text" panose="020B0506040202020204" pitchFamily="34" charset="0"/>
              </a:rPr>
              <a:t>addresses. (RFC6052)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MAP-T Mapping Rule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80C64C27-740A-FC3C-6722-6CF94DC20FB4}"/>
              </a:ext>
            </a:extLst>
          </p:cNvPr>
          <p:cNvSpPr txBox="1">
            <a:spLocks/>
          </p:cNvSpPr>
          <p:nvPr/>
        </p:nvSpPr>
        <p:spPr>
          <a:xfrm>
            <a:off x="4085320" y="693010"/>
            <a:ext cx="3363230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Default Mapping Rule (DMR)</a:t>
            </a:r>
          </a:p>
        </p:txBody>
      </p:sp>
      <p:pic>
        <p:nvPicPr>
          <p:cNvPr id="5" name="Picture 27">
            <a:extLst>
              <a:ext uri="{FF2B5EF4-FFF2-40B4-BE49-F238E27FC236}">
                <a16:creationId xmlns:a16="http://schemas.microsoft.com/office/drawing/2014/main" id="{148A8155-8FFB-E8E9-D63D-986E0688C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1891" y="2423537"/>
            <a:ext cx="2136545" cy="988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1">
            <a:extLst>
              <a:ext uri="{FF2B5EF4-FFF2-40B4-BE49-F238E27FC236}">
                <a16:creationId xmlns:a16="http://schemas.microsoft.com/office/drawing/2014/main" id="{253BB939-D345-EFCB-E4D6-771039EA10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6202" y="2468694"/>
            <a:ext cx="241511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en-US" sz="1400" b="1" dirty="0">
                <a:latin typeface="Sky Text" panose="020B0506040202020204" pitchFamily="34" charset="0"/>
              </a:rPr>
              <a:t>(RFC6052) IPv4-embedded IPv6 addresses </a:t>
            </a:r>
            <a:r>
              <a:rPr lang="en-US" altLang="en-US" sz="1400" dirty="0">
                <a:latin typeface="Sky Text" panose="020B0506040202020204" pitchFamily="34" charset="0"/>
              </a:rPr>
              <a:t>used for external host destination address.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6078603D-DBF8-1BAB-F7AE-EB1B41CD16CE}"/>
              </a:ext>
            </a:extLst>
          </p:cNvPr>
          <p:cNvSpPr txBox="1"/>
          <p:nvPr/>
        </p:nvSpPr>
        <p:spPr>
          <a:xfrm>
            <a:off x="4747113" y="2763725"/>
            <a:ext cx="267890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solidFill>
                  <a:srgbClr val="172B4D"/>
                </a:solidFill>
                <a:effectLst/>
                <a:latin typeface="+mj-lt"/>
              </a:rPr>
              <a:t>Sky uses /64-sized DMR prefixes</a:t>
            </a:r>
            <a:endParaRPr lang="it-IT" sz="1400" dirty="0">
              <a:latin typeface="+mj-lt"/>
            </a:endParaRPr>
          </a:p>
        </p:txBody>
      </p: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29C8B65B-7AFE-3ED6-993E-081F58831F2B}"/>
              </a:ext>
            </a:extLst>
          </p:cNvPr>
          <p:cNvCxnSpPr>
            <a:stCxn id="8" idx="3"/>
          </p:cNvCxnSpPr>
          <p:nvPr/>
        </p:nvCxnSpPr>
        <p:spPr>
          <a:xfrm flipV="1">
            <a:off x="3781312" y="2945747"/>
            <a:ext cx="762113" cy="1"/>
          </a:xfrm>
          <a:prstGeom prst="straightConnector1">
            <a:avLst/>
          </a:prstGeom>
          <a:ln w="31750">
            <a:solidFill>
              <a:srgbClr val="930F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2 13">
            <a:extLst>
              <a:ext uri="{FF2B5EF4-FFF2-40B4-BE49-F238E27FC236}">
                <a16:creationId xmlns:a16="http://schemas.microsoft.com/office/drawing/2014/main" id="{F6710999-4A46-A9D0-5018-BE68DE07594A}"/>
              </a:ext>
            </a:extLst>
          </p:cNvPr>
          <p:cNvCxnSpPr/>
          <p:nvPr/>
        </p:nvCxnSpPr>
        <p:spPr>
          <a:xfrm flipV="1">
            <a:off x="7471901" y="2917612"/>
            <a:ext cx="762113" cy="1"/>
          </a:xfrm>
          <a:prstGeom prst="straightConnector1">
            <a:avLst/>
          </a:prstGeom>
          <a:ln w="31750">
            <a:solidFill>
              <a:srgbClr val="930F8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magine 18">
            <a:extLst>
              <a:ext uri="{FF2B5EF4-FFF2-40B4-BE49-F238E27FC236}">
                <a16:creationId xmlns:a16="http://schemas.microsoft.com/office/drawing/2014/main" id="{908D5419-FA60-701D-8FC8-135DE48AE6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4639" y="3318742"/>
            <a:ext cx="4425089" cy="2810786"/>
          </a:xfrm>
          <a:prstGeom prst="rect">
            <a:avLst/>
          </a:prstGeom>
        </p:spPr>
      </p:pic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C988850F-E3C9-37D2-ADEC-B8BBE8E38F1B}"/>
              </a:ext>
            </a:extLst>
          </p:cNvPr>
          <p:cNvSpPr/>
          <p:nvPr/>
        </p:nvSpPr>
        <p:spPr>
          <a:xfrm>
            <a:off x="2391773" y="5269725"/>
            <a:ext cx="4357819" cy="418058"/>
          </a:xfrm>
          <a:prstGeom prst="roundRect">
            <a:avLst/>
          </a:prstGeom>
          <a:solidFill>
            <a:srgbClr val="92D050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1582835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MAP-T Mapping Rules</a:t>
            </a:r>
          </a:p>
        </p:txBody>
      </p:sp>
      <p:sp>
        <p:nvSpPr>
          <p:cNvPr id="4" name="Rectangle 124">
            <a:extLst>
              <a:ext uri="{FF2B5EF4-FFF2-40B4-BE49-F238E27FC236}">
                <a16:creationId xmlns:a16="http://schemas.microsoft.com/office/drawing/2014/main" id="{4B5B5106-D1D2-3569-FB81-A9F141B47E6A}"/>
              </a:ext>
            </a:extLst>
          </p:cNvPr>
          <p:cNvSpPr/>
          <p:nvPr/>
        </p:nvSpPr>
        <p:spPr>
          <a:xfrm>
            <a:off x="704239" y="1081546"/>
            <a:ext cx="10459793" cy="5206352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indent="0" defTabSz="1123615">
              <a:spcBef>
                <a:spcPts val="737"/>
              </a:spcBef>
              <a:buFont typeface="Arial" panose="020B0604020202020204" pitchFamily="34" charset="0"/>
              <a:buNone/>
              <a:defRPr/>
            </a:pPr>
            <a:endParaRPr lang="en-US" sz="1200" dirty="0">
              <a:solidFill>
                <a:schemeClr val="tx1"/>
              </a:solidFill>
              <a:latin typeface="Sky Text" panose="020B0506040202020204" pitchFamily="34" charset="0"/>
            </a:endParaRPr>
          </a:p>
          <a:p>
            <a:pPr marL="0" indent="0" defTabSz="1123615">
              <a:spcBef>
                <a:spcPts val="737"/>
              </a:spcBef>
              <a:buFont typeface="Arial" panose="020B0604020202020204" pitchFamily="34" charset="0"/>
              <a:buNone/>
              <a:defRPr/>
            </a:pP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The BMR is the main MAP rule that tells both the </a:t>
            </a:r>
            <a:r>
              <a:rPr lang="en-US" sz="1600" b="1" dirty="0">
                <a:solidFill>
                  <a:schemeClr val="tx1"/>
                </a:solidFill>
                <a:latin typeface="Sky Text" panose="020B0506040202020204" pitchFamily="34" charset="0"/>
              </a:rPr>
              <a:t>MAP CE </a:t>
            </a: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and </a:t>
            </a:r>
            <a:r>
              <a:rPr lang="en-US" sz="1600" b="1" dirty="0">
                <a:solidFill>
                  <a:schemeClr val="tx1"/>
                </a:solidFill>
                <a:latin typeface="Sky Text" panose="020B0506040202020204" pitchFamily="34" charset="0"/>
              </a:rPr>
              <a:t>Border Relay </a:t>
            </a: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how to do the stateless </a:t>
            </a:r>
            <a:r>
              <a:rPr lang="en-US" sz="1600" b="1" dirty="0">
                <a:solidFill>
                  <a:schemeClr val="tx1"/>
                </a:solidFill>
                <a:latin typeface="Sky Text" panose="020B0506040202020204" pitchFamily="34" charset="0"/>
              </a:rPr>
              <a:t>NAT64 translation</a:t>
            </a: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.  It also informs the MAP CEs which </a:t>
            </a:r>
            <a:r>
              <a:rPr lang="en-US" sz="1600" b="1" dirty="0">
                <a:solidFill>
                  <a:schemeClr val="tx1"/>
                </a:solidFill>
                <a:latin typeface="Sky Text" panose="020B0506040202020204" pitchFamily="34" charset="0"/>
              </a:rPr>
              <a:t>layer 4 ports </a:t>
            </a: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they're allowed to use.</a:t>
            </a:r>
          </a:p>
          <a:p>
            <a:pPr marL="0" indent="0" defTabSz="1123615">
              <a:spcBef>
                <a:spcPts val="737"/>
              </a:spcBef>
              <a:buFont typeface="Arial" panose="020B0604020202020204" pitchFamily="34" charset="0"/>
              <a:buNone/>
              <a:defRPr/>
            </a:pPr>
            <a:endParaRPr lang="en-US" sz="1600" dirty="0">
              <a:solidFill>
                <a:schemeClr val="tx1"/>
              </a:solidFill>
              <a:latin typeface="Sky Text" panose="020B0506040202020204" pitchFamily="34" charset="0"/>
            </a:endParaRPr>
          </a:p>
          <a:p>
            <a:pPr marL="0" indent="0" defTabSz="1123615">
              <a:spcBef>
                <a:spcPts val="737"/>
              </a:spcBef>
              <a:buFont typeface="Arial" panose="020B0604020202020204" pitchFamily="34" charset="0"/>
              <a:buNone/>
              <a:defRPr/>
            </a:pP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Each subscriber is assigned a Prefix Delegation of size /48. The Sky HUB currently uses a single /64 for the LAN.</a:t>
            </a:r>
          </a:p>
          <a:p>
            <a:pPr marL="0" indent="0" defTabSz="1123615">
              <a:spcBef>
                <a:spcPts val="737"/>
              </a:spcBef>
              <a:buFont typeface="Arial" panose="020B0604020202020204" pitchFamily="34" charset="0"/>
              <a:buNone/>
              <a:defRPr/>
            </a:pP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Mapping rules are communicated to the CPE via DHCPv6 option 95 within the lease (RFC7598)</a:t>
            </a:r>
          </a:p>
          <a:p>
            <a:pPr marL="0" indent="0" defTabSz="1123615">
              <a:spcBef>
                <a:spcPts val="737"/>
              </a:spcBef>
              <a:buFont typeface="Arial" panose="020B0604020202020204" pitchFamily="34" charset="0"/>
              <a:buNone/>
              <a:defRPr/>
            </a:pP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Combination of DHCPv6 PD + Option 95 define the </a:t>
            </a:r>
            <a:r>
              <a:rPr lang="en-US" sz="1600" b="1" dirty="0">
                <a:solidFill>
                  <a:schemeClr val="tx1"/>
                </a:solidFill>
                <a:latin typeface="Sky Text" panose="020B0506040202020204" pitchFamily="34" charset="0"/>
              </a:rPr>
              <a:t>IPv4 address </a:t>
            </a: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and </a:t>
            </a:r>
            <a:r>
              <a:rPr lang="en-US" sz="1600" b="1" dirty="0">
                <a:solidFill>
                  <a:schemeClr val="tx1"/>
                </a:solidFill>
                <a:latin typeface="Sky Text" panose="020B0506040202020204" pitchFamily="34" charset="0"/>
              </a:rPr>
              <a:t>port</a:t>
            </a:r>
            <a:r>
              <a:rPr lang="en-US" sz="1600" dirty="0">
                <a:solidFill>
                  <a:schemeClr val="tx1"/>
                </a:solidFill>
                <a:latin typeface="Sky Text" panose="020B0506040202020204" pitchFamily="34" charset="0"/>
              </a:rPr>
              <a:t> the CPE is allowed to use.</a:t>
            </a:r>
          </a:p>
          <a:p>
            <a:pPr marL="0" indent="0" algn="ctr" defTabSz="1123615">
              <a:spcBef>
                <a:spcPts val="737"/>
              </a:spcBef>
              <a:buFont typeface="Arial" panose="020B0604020202020204" pitchFamily="34" charset="0"/>
              <a:buNone/>
              <a:defRPr/>
            </a:pPr>
            <a:r>
              <a:rPr lang="en-US" sz="2400" dirty="0">
                <a:solidFill>
                  <a:schemeClr val="tx1"/>
                </a:solidFill>
                <a:latin typeface="Sky Text" panose="020B0506040202020204" pitchFamily="34" charset="0"/>
              </a:rPr>
              <a:t>Sky uses </a:t>
            </a:r>
            <a:r>
              <a:rPr lang="en-US" sz="2400" b="1" dirty="0">
                <a:solidFill>
                  <a:schemeClr val="tx1"/>
                </a:solidFill>
                <a:latin typeface="Sky Text" panose="020B0506040202020204" pitchFamily="34" charset="0"/>
              </a:rPr>
              <a:t>1:16 Ratio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08776B41-8DB8-1FC7-A644-E65E2EEB0529}"/>
              </a:ext>
            </a:extLst>
          </p:cNvPr>
          <p:cNvSpPr txBox="1">
            <a:spLocks/>
          </p:cNvSpPr>
          <p:nvPr/>
        </p:nvSpPr>
        <p:spPr>
          <a:xfrm>
            <a:off x="4134087" y="876032"/>
            <a:ext cx="3363230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Basic Mapping Rule (BMR)</a:t>
            </a:r>
          </a:p>
        </p:txBody>
      </p:sp>
      <p:pic>
        <p:nvPicPr>
          <p:cNvPr id="48" name="Immagine 47">
            <a:extLst>
              <a:ext uri="{FF2B5EF4-FFF2-40B4-BE49-F238E27FC236}">
                <a16:creationId xmlns:a16="http://schemas.microsoft.com/office/drawing/2014/main" id="{7F82FCC5-C055-509B-4BCC-D546A69C24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8622" y="3897804"/>
            <a:ext cx="6847394" cy="752083"/>
          </a:xfrm>
          <a:prstGeom prst="rect">
            <a:avLst/>
          </a:prstGeom>
        </p:spPr>
      </p:pic>
      <p:grpSp>
        <p:nvGrpSpPr>
          <p:cNvPr id="59" name="Gruppo 58">
            <a:extLst>
              <a:ext uri="{FF2B5EF4-FFF2-40B4-BE49-F238E27FC236}">
                <a16:creationId xmlns:a16="http://schemas.microsoft.com/office/drawing/2014/main" id="{82FA7E00-07BF-24AB-99FA-F5FF76EDB6F6}"/>
              </a:ext>
            </a:extLst>
          </p:cNvPr>
          <p:cNvGrpSpPr/>
          <p:nvPr/>
        </p:nvGrpSpPr>
        <p:grpSpPr>
          <a:xfrm>
            <a:off x="1603777" y="5008632"/>
            <a:ext cx="8700259" cy="464915"/>
            <a:chOff x="2300140" y="3962256"/>
            <a:chExt cx="8700259" cy="464915"/>
          </a:xfrm>
        </p:grpSpPr>
        <p:sp>
          <p:nvSpPr>
            <p:cNvPr id="50" name="Rettangolo 49">
              <a:extLst>
                <a:ext uri="{FF2B5EF4-FFF2-40B4-BE49-F238E27FC236}">
                  <a16:creationId xmlns:a16="http://schemas.microsoft.com/office/drawing/2014/main" id="{19904193-1439-B61C-18C4-A3FC0DA59F01}"/>
                </a:ext>
              </a:extLst>
            </p:cNvPr>
            <p:cNvSpPr/>
            <p:nvPr/>
          </p:nvSpPr>
          <p:spPr>
            <a:xfrm>
              <a:off x="2300140" y="3962256"/>
              <a:ext cx="2092751" cy="464915"/>
            </a:xfrm>
            <a:prstGeom prst="rect">
              <a:avLst/>
            </a:prstGeom>
            <a:solidFill>
              <a:srgbClr val="19B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600" dirty="0">
                  <a:solidFill>
                    <a:schemeClr val="tx1"/>
                  </a:solidFill>
                  <a:latin typeface="+mj-lt"/>
                </a:rPr>
                <a:t>2a0e:418:ff00:00/32</a:t>
              </a:r>
            </a:p>
          </p:txBody>
        </p:sp>
        <p:sp>
          <p:nvSpPr>
            <p:cNvPr id="51" name="Rettangolo 50">
              <a:extLst>
                <a:ext uri="{FF2B5EF4-FFF2-40B4-BE49-F238E27FC236}">
                  <a16:creationId xmlns:a16="http://schemas.microsoft.com/office/drawing/2014/main" id="{B87F2082-7F5A-2630-6807-3441702F7AB6}"/>
                </a:ext>
              </a:extLst>
            </p:cNvPr>
            <p:cNvSpPr/>
            <p:nvPr/>
          </p:nvSpPr>
          <p:spPr>
            <a:xfrm>
              <a:off x="4392891" y="3962256"/>
              <a:ext cx="1300899" cy="464915"/>
            </a:xfrm>
            <a:prstGeom prst="rect">
              <a:avLst/>
            </a:prstGeom>
            <a:solidFill>
              <a:srgbClr val="7CFD1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tx1"/>
                  </a:solidFill>
                  <a:latin typeface="+mj-lt"/>
                </a:rPr>
                <a:t>EA Bits</a:t>
              </a:r>
            </a:p>
            <a:p>
              <a:pPr algn="ctr"/>
              <a:r>
                <a:rPr lang="it-IT" sz="1200" b="1" dirty="0">
                  <a:solidFill>
                    <a:schemeClr val="tx1"/>
                  </a:solidFill>
                  <a:latin typeface="+mj-lt"/>
                </a:rPr>
                <a:t>(16 = 12 + 4)</a:t>
              </a: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2D54013A-3911-CA88-A06B-1C8C02B79F00}"/>
                </a:ext>
              </a:extLst>
            </p:cNvPr>
            <p:cNvSpPr/>
            <p:nvPr/>
          </p:nvSpPr>
          <p:spPr>
            <a:xfrm>
              <a:off x="5693790" y="3962256"/>
              <a:ext cx="1300899" cy="464915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 err="1">
                  <a:solidFill>
                    <a:schemeClr val="tx1"/>
                  </a:solidFill>
                  <a:latin typeface="+mj-lt"/>
                </a:rPr>
                <a:t>Subnet</a:t>
              </a:r>
              <a:endParaRPr lang="it-IT" sz="1200" b="1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r>
                <a:rPr lang="it-IT" sz="1200" b="1" dirty="0">
                  <a:solidFill>
                    <a:schemeClr val="tx1"/>
                  </a:solidFill>
                  <a:latin typeface="+mj-lt"/>
                </a:rPr>
                <a:t>(16)</a:t>
              </a:r>
            </a:p>
          </p:txBody>
        </p:sp>
        <p:sp>
          <p:nvSpPr>
            <p:cNvPr id="53" name="Rettangolo 52">
              <a:extLst>
                <a:ext uri="{FF2B5EF4-FFF2-40B4-BE49-F238E27FC236}">
                  <a16:creationId xmlns:a16="http://schemas.microsoft.com/office/drawing/2014/main" id="{2DCAB042-86C2-EEB1-D4EA-1ABB23C1B838}"/>
                </a:ext>
              </a:extLst>
            </p:cNvPr>
            <p:cNvSpPr/>
            <p:nvPr/>
          </p:nvSpPr>
          <p:spPr>
            <a:xfrm>
              <a:off x="6994689" y="3962256"/>
              <a:ext cx="4005710" cy="464915"/>
            </a:xfrm>
            <a:prstGeom prst="rect">
              <a:avLst/>
            </a:prstGeom>
            <a:solidFill>
              <a:srgbClr val="D3D3D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800" dirty="0">
                  <a:solidFill>
                    <a:schemeClr val="tx1"/>
                  </a:solidFill>
                  <a:latin typeface="+mj-lt"/>
                </a:rPr>
                <a:t>Interface ID (64)</a:t>
              </a:r>
            </a:p>
          </p:txBody>
        </p:sp>
      </p:grpSp>
      <p:grpSp>
        <p:nvGrpSpPr>
          <p:cNvPr id="61" name="Gruppo 60">
            <a:extLst>
              <a:ext uri="{FF2B5EF4-FFF2-40B4-BE49-F238E27FC236}">
                <a16:creationId xmlns:a16="http://schemas.microsoft.com/office/drawing/2014/main" id="{D7034568-7E39-8FB5-FE46-3EF36D91E919}"/>
              </a:ext>
            </a:extLst>
          </p:cNvPr>
          <p:cNvGrpSpPr/>
          <p:nvPr/>
        </p:nvGrpSpPr>
        <p:grpSpPr>
          <a:xfrm>
            <a:off x="1603777" y="5688254"/>
            <a:ext cx="2513506" cy="464915"/>
            <a:chOff x="2300140" y="4629685"/>
            <a:chExt cx="2513506" cy="464915"/>
          </a:xfrm>
        </p:grpSpPr>
        <p:sp>
          <p:nvSpPr>
            <p:cNvPr id="54" name="Rettangolo 53">
              <a:extLst>
                <a:ext uri="{FF2B5EF4-FFF2-40B4-BE49-F238E27FC236}">
                  <a16:creationId xmlns:a16="http://schemas.microsoft.com/office/drawing/2014/main" id="{CDCF303D-C593-F529-86FE-0528928865FF}"/>
                </a:ext>
              </a:extLst>
            </p:cNvPr>
            <p:cNvSpPr/>
            <p:nvPr/>
          </p:nvSpPr>
          <p:spPr>
            <a:xfrm>
              <a:off x="2300140" y="4629685"/>
              <a:ext cx="1649691" cy="464915"/>
            </a:xfrm>
            <a:prstGeom prst="rect">
              <a:avLst/>
            </a:prstGeom>
            <a:solidFill>
              <a:srgbClr val="2190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600" dirty="0">
                  <a:solidFill>
                    <a:schemeClr val="tx1"/>
                  </a:solidFill>
                  <a:latin typeface="+mj-lt"/>
                </a:rPr>
                <a:t>101.56.120.0 / 20</a:t>
              </a:r>
            </a:p>
          </p:txBody>
        </p:sp>
        <p:sp>
          <p:nvSpPr>
            <p:cNvPr id="55" name="Rettangolo 54">
              <a:extLst>
                <a:ext uri="{FF2B5EF4-FFF2-40B4-BE49-F238E27FC236}">
                  <a16:creationId xmlns:a16="http://schemas.microsoft.com/office/drawing/2014/main" id="{B7D9C973-F1C9-D02C-CBC2-1428F3FD2F6D}"/>
                </a:ext>
              </a:extLst>
            </p:cNvPr>
            <p:cNvSpPr/>
            <p:nvPr/>
          </p:nvSpPr>
          <p:spPr>
            <a:xfrm>
              <a:off x="3959260" y="4629685"/>
              <a:ext cx="854386" cy="464915"/>
            </a:xfrm>
            <a:prstGeom prst="rect">
              <a:avLst/>
            </a:prstGeom>
            <a:solidFill>
              <a:srgbClr val="7CFD1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 err="1">
                  <a:solidFill>
                    <a:schemeClr val="tx1"/>
                  </a:solidFill>
                  <a:latin typeface="+mj-lt"/>
                </a:rPr>
                <a:t>Suffix</a:t>
              </a:r>
              <a:endParaRPr lang="it-IT" sz="1200" b="1" dirty="0">
                <a:solidFill>
                  <a:schemeClr val="tx1"/>
                </a:solidFill>
                <a:latin typeface="+mj-lt"/>
              </a:endParaRPr>
            </a:p>
            <a:p>
              <a:pPr algn="ctr"/>
              <a:r>
                <a:rPr lang="it-IT" sz="1200" b="1" dirty="0">
                  <a:solidFill>
                    <a:schemeClr val="tx1"/>
                  </a:solidFill>
                  <a:latin typeface="+mj-lt"/>
                </a:rPr>
                <a:t>(12)</a:t>
              </a:r>
            </a:p>
          </p:txBody>
        </p:sp>
      </p:grpSp>
      <p:grpSp>
        <p:nvGrpSpPr>
          <p:cNvPr id="60" name="Gruppo 59">
            <a:extLst>
              <a:ext uri="{FF2B5EF4-FFF2-40B4-BE49-F238E27FC236}">
                <a16:creationId xmlns:a16="http://schemas.microsoft.com/office/drawing/2014/main" id="{5894821B-D1FF-E5FC-72E7-04211884D654}"/>
              </a:ext>
            </a:extLst>
          </p:cNvPr>
          <p:cNvGrpSpPr/>
          <p:nvPr/>
        </p:nvGrpSpPr>
        <p:grpSpPr>
          <a:xfrm>
            <a:off x="4610930" y="5688254"/>
            <a:ext cx="1185006" cy="464915"/>
            <a:chOff x="6890994" y="4641878"/>
            <a:chExt cx="1185006" cy="464915"/>
          </a:xfrm>
        </p:grpSpPr>
        <p:sp>
          <p:nvSpPr>
            <p:cNvPr id="56" name="Rettangolo 55">
              <a:extLst>
                <a:ext uri="{FF2B5EF4-FFF2-40B4-BE49-F238E27FC236}">
                  <a16:creationId xmlns:a16="http://schemas.microsoft.com/office/drawing/2014/main" id="{DE319FDA-FDA6-87B8-D8B2-9B5D39EA8CA6}"/>
                </a:ext>
              </a:extLst>
            </p:cNvPr>
            <p:cNvSpPr/>
            <p:nvPr/>
          </p:nvSpPr>
          <p:spPr>
            <a:xfrm>
              <a:off x="7220932" y="4641878"/>
              <a:ext cx="525130" cy="464915"/>
            </a:xfrm>
            <a:prstGeom prst="rect">
              <a:avLst/>
            </a:prstGeom>
            <a:solidFill>
              <a:srgbClr val="7CFD1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tx1"/>
                  </a:solidFill>
                  <a:latin typeface="+mj-lt"/>
                </a:rPr>
                <a:t>PSID</a:t>
              </a:r>
            </a:p>
            <a:p>
              <a:pPr algn="ctr"/>
              <a:r>
                <a:rPr lang="it-IT" sz="1200" b="1" dirty="0">
                  <a:solidFill>
                    <a:schemeClr val="tx1"/>
                  </a:solidFill>
                  <a:latin typeface="+mj-lt"/>
                </a:rPr>
                <a:t>(4)</a:t>
              </a:r>
            </a:p>
          </p:txBody>
        </p:sp>
        <p:sp>
          <p:nvSpPr>
            <p:cNvPr id="57" name="Rettangolo 56">
              <a:extLst>
                <a:ext uri="{FF2B5EF4-FFF2-40B4-BE49-F238E27FC236}">
                  <a16:creationId xmlns:a16="http://schemas.microsoft.com/office/drawing/2014/main" id="{E9AFB71D-9DFD-A736-E148-5F76E14BDBA9}"/>
                </a:ext>
              </a:extLst>
            </p:cNvPr>
            <p:cNvSpPr/>
            <p:nvPr/>
          </p:nvSpPr>
          <p:spPr>
            <a:xfrm>
              <a:off x="6890994" y="4641878"/>
              <a:ext cx="329938" cy="464915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tx1"/>
                  </a:solidFill>
                  <a:latin typeface="+mj-lt"/>
                </a:rPr>
                <a:t>6</a:t>
              </a:r>
            </a:p>
          </p:txBody>
        </p:sp>
        <p:sp>
          <p:nvSpPr>
            <p:cNvPr id="58" name="Rettangolo 57">
              <a:extLst>
                <a:ext uri="{FF2B5EF4-FFF2-40B4-BE49-F238E27FC236}">
                  <a16:creationId xmlns:a16="http://schemas.microsoft.com/office/drawing/2014/main" id="{BA65791C-5E63-7099-15F1-3096C9E182CB}"/>
                </a:ext>
              </a:extLst>
            </p:cNvPr>
            <p:cNvSpPr/>
            <p:nvPr/>
          </p:nvSpPr>
          <p:spPr>
            <a:xfrm>
              <a:off x="7746062" y="4641878"/>
              <a:ext cx="329938" cy="464915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tx1"/>
                  </a:solidFill>
                  <a:latin typeface="+mj-lt"/>
                </a:rPr>
                <a:t>6</a:t>
              </a:r>
            </a:p>
          </p:txBody>
        </p:sp>
      </p:grpSp>
      <p:sp>
        <p:nvSpPr>
          <p:cNvPr id="63" name="Rettangolo 62">
            <a:extLst>
              <a:ext uri="{FF2B5EF4-FFF2-40B4-BE49-F238E27FC236}">
                <a16:creationId xmlns:a16="http://schemas.microsoft.com/office/drawing/2014/main" id="{F1198C9F-D1D2-3816-62A8-5E14F7D53728}"/>
              </a:ext>
            </a:extLst>
          </p:cNvPr>
          <p:cNvSpPr/>
          <p:nvPr/>
        </p:nvSpPr>
        <p:spPr>
          <a:xfrm>
            <a:off x="4129883" y="5660247"/>
            <a:ext cx="484249" cy="4649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3200" b="1" dirty="0">
                <a:solidFill>
                  <a:schemeClr val="tx1"/>
                </a:solidFill>
                <a:latin typeface="+mj-lt"/>
              </a:rPr>
              <a:t>:</a:t>
            </a:r>
          </a:p>
        </p:txBody>
      </p:sp>
      <p:sp>
        <p:nvSpPr>
          <p:cNvPr id="64" name="Rettangolo 63">
            <a:extLst>
              <a:ext uri="{FF2B5EF4-FFF2-40B4-BE49-F238E27FC236}">
                <a16:creationId xmlns:a16="http://schemas.microsoft.com/office/drawing/2014/main" id="{43AB1547-8438-F17A-435E-D56F4FF09205}"/>
              </a:ext>
            </a:extLst>
          </p:cNvPr>
          <p:cNvSpPr/>
          <p:nvPr/>
        </p:nvSpPr>
        <p:spPr>
          <a:xfrm>
            <a:off x="4755302" y="4813923"/>
            <a:ext cx="484249" cy="1738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  <a:latin typeface="+mj-lt"/>
              </a:rPr>
              <a:t>/48</a:t>
            </a:r>
          </a:p>
        </p:txBody>
      </p: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23D6139F-5EEF-872B-42AE-57DC44E9DDDB}"/>
              </a:ext>
            </a:extLst>
          </p:cNvPr>
          <p:cNvSpPr txBox="1">
            <a:spLocks noChangeArrowheads="1"/>
          </p:cNvSpPr>
          <p:nvPr/>
        </p:nvSpPr>
        <p:spPr>
          <a:xfrm>
            <a:off x="5807385" y="5744775"/>
            <a:ext cx="4648158" cy="389583"/>
          </a:xfrm>
          <a:prstGeom prst="rect">
            <a:avLst/>
          </a:prstGeom>
        </p:spPr>
        <p:txBody>
          <a:bodyPr/>
          <a:lstStyle>
            <a:lvl1pPr marL="438891" indent="-438891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40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50928" indent="-365742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62968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0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48153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33340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18527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3714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88901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087" indent="-292593" algn="l" defTabSz="117037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en-US" sz="1600" dirty="0">
                <a:latin typeface="+mj-lt"/>
              </a:rPr>
              <a:t>4096 IPv4 addresses, 65536 users, 4032 ports each.</a:t>
            </a:r>
          </a:p>
        </p:txBody>
      </p:sp>
      <p:sp>
        <p:nvSpPr>
          <p:cNvPr id="66" name="Freccia in giù 65">
            <a:extLst>
              <a:ext uri="{FF2B5EF4-FFF2-40B4-BE49-F238E27FC236}">
                <a16:creationId xmlns:a16="http://schemas.microsoft.com/office/drawing/2014/main" id="{B3953922-C393-A123-E2E2-CED35DC46937}"/>
              </a:ext>
            </a:extLst>
          </p:cNvPr>
          <p:cNvSpPr/>
          <p:nvPr/>
        </p:nvSpPr>
        <p:spPr>
          <a:xfrm rot="2661381">
            <a:off x="3803147" y="5501828"/>
            <a:ext cx="222098" cy="18670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7" name="Freccia in giù 66">
            <a:extLst>
              <a:ext uri="{FF2B5EF4-FFF2-40B4-BE49-F238E27FC236}">
                <a16:creationId xmlns:a16="http://schemas.microsoft.com/office/drawing/2014/main" id="{3117EA7A-5399-A8D3-DDD1-22EA598D0E04}"/>
              </a:ext>
            </a:extLst>
          </p:cNvPr>
          <p:cNvSpPr/>
          <p:nvPr/>
        </p:nvSpPr>
        <p:spPr>
          <a:xfrm rot="19808038">
            <a:off x="4864589" y="5494170"/>
            <a:ext cx="222098" cy="18670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097019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MAP-T IPv4 Packet translation Example</a:t>
            </a: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F8B5B475-B16B-44A3-FC61-C53978F0A169}"/>
              </a:ext>
            </a:extLst>
          </p:cNvPr>
          <p:cNvGrpSpPr/>
          <p:nvPr/>
        </p:nvGrpSpPr>
        <p:grpSpPr>
          <a:xfrm>
            <a:off x="1401354" y="747715"/>
            <a:ext cx="9171396" cy="2353442"/>
            <a:chOff x="1951348" y="257773"/>
            <a:chExt cx="8066854" cy="2353442"/>
          </a:xfrm>
        </p:grpSpPr>
        <p:cxnSp>
          <p:nvCxnSpPr>
            <p:cNvPr id="21" name="Straight Arrow Connector 8">
              <a:extLst>
                <a:ext uri="{FF2B5EF4-FFF2-40B4-BE49-F238E27FC236}">
                  <a16:creationId xmlns:a16="http://schemas.microsoft.com/office/drawing/2014/main" id="{A4AC0DA9-5323-9693-D5C9-BD0AB597BD02}"/>
                </a:ext>
              </a:extLst>
            </p:cNvPr>
            <p:cNvCxnSpPr>
              <a:cxnSpLocks/>
            </p:cNvCxnSpPr>
            <p:nvPr/>
          </p:nvCxnSpPr>
          <p:spPr>
            <a:xfrm>
              <a:off x="3657600" y="1355725"/>
              <a:ext cx="1089025" cy="0"/>
            </a:xfrm>
            <a:prstGeom prst="straightConnector1">
              <a:avLst/>
            </a:prstGeom>
            <a:ln w="698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11">
              <a:extLst>
                <a:ext uri="{FF2B5EF4-FFF2-40B4-BE49-F238E27FC236}">
                  <a16:creationId xmlns:a16="http://schemas.microsoft.com/office/drawing/2014/main" id="{4EE9B322-75EE-BBEF-C4EC-2DB176514716}"/>
                </a:ext>
              </a:extLst>
            </p:cNvPr>
            <p:cNvCxnSpPr>
              <a:cxnSpLocks/>
            </p:cNvCxnSpPr>
            <p:nvPr/>
          </p:nvCxnSpPr>
          <p:spPr>
            <a:xfrm>
              <a:off x="5094288" y="1355725"/>
              <a:ext cx="3106737" cy="0"/>
            </a:xfrm>
            <a:prstGeom prst="straightConnector1">
              <a:avLst/>
            </a:prstGeom>
            <a:ln w="698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13">
              <a:extLst>
                <a:ext uri="{FF2B5EF4-FFF2-40B4-BE49-F238E27FC236}">
                  <a16:creationId xmlns:a16="http://schemas.microsoft.com/office/drawing/2014/main" id="{EF3EC609-AD1D-CF3C-8B48-0AE8F4A7F2CD}"/>
                </a:ext>
              </a:extLst>
            </p:cNvPr>
            <p:cNvCxnSpPr>
              <a:cxnSpLocks/>
            </p:cNvCxnSpPr>
            <p:nvPr/>
          </p:nvCxnSpPr>
          <p:spPr>
            <a:xfrm>
              <a:off x="2867025" y="1355725"/>
              <a:ext cx="449263" cy="0"/>
            </a:xfrm>
            <a:prstGeom prst="straightConnector1">
              <a:avLst/>
            </a:prstGeom>
            <a:ln w="698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Immagine 23">
              <a:extLst>
                <a:ext uri="{FF2B5EF4-FFF2-40B4-BE49-F238E27FC236}">
                  <a16:creationId xmlns:a16="http://schemas.microsoft.com/office/drawing/2014/main" id="{3B414023-7FC5-33EC-27C2-262C595F09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04838" y="257773"/>
              <a:ext cx="7712275" cy="2339108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25" name="Rettangolo 24">
              <a:extLst>
                <a:ext uri="{FF2B5EF4-FFF2-40B4-BE49-F238E27FC236}">
                  <a16:creationId xmlns:a16="http://schemas.microsoft.com/office/drawing/2014/main" id="{0ADE6D12-F533-8834-9704-490055ECAB4E}"/>
                </a:ext>
              </a:extLst>
            </p:cNvPr>
            <p:cNvSpPr/>
            <p:nvPr/>
          </p:nvSpPr>
          <p:spPr>
            <a:xfrm>
              <a:off x="1951348" y="2205872"/>
              <a:ext cx="7286920" cy="4053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6C1DD991-F595-9B1D-6FE8-7CF2D62ABB60}"/>
                </a:ext>
              </a:extLst>
            </p:cNvPr>
            <p:cNvSpPr/>
            <p:nvPr/>
          </p:nvSpPr>
          <p:spPr>
            <a:xfrm>
              <a:off x="8851769" y="1461155"/>
              <a:ext cx="1166433" cy="7303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7" name="Rettangolo 26">
              <a:extLst>
                <a:ext uri="{FF2B5EF4-FFF2-40B4-BE49-F238E27FC236}">
                  <a16:creationId xmlns:a16="http://schemas.microsoft.com/office/drawing/2014/main" id="{7B4EA613-03EB-133F-E22B-4F1897BDD431}"/>
                </a:ext>
              </a:extLst>
            </p:cNvPr>
            <p:cNvSpPr/>
            <p:nvPr/>
          </p:nvSpPr>
          <p:spPr>
            <a:xfrm>
              <a:off x="8632567" y="1687460"/>
              <a:ext cx="438403" cy="4053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8" name="Rettangolo 27">
              <a:extLst>
                <a:ext uri="{FF2B5EF4-FFF2-40B4-BE49-F238E27FC236}">
                  <a16:creationId xmlns:a16="http://schemas.microsoft.com/office/drawing/2014/main" id="{CCEE4AE1-8604-BD5C-5168-7127A4A7319B}"/>
                </a:ext>
              </a:extLst>
            </p:cNvPr>
            <p:cNvSpPr/>
            <p:nvPr/>
          </p:nvSpPr>
          <p:spPr>
            <a:xfrm>
              <a:off x="8799865" y="1590689"/>
              <a:ext cx="438403" cy="4053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9" name="Rettangolo 28">
              <a:extLst>
                <a:ext uri="{FF2B5EF4-FFF2-40B4-BE49-F238E27FC236}">
                  <a16:creationId xmlns:a16="http://schemas.microsoft.com/office/drawing/2014/main" id="{5AF2A6ED-8DFE-7A82-5516-D78C36870508}"/>
                </a:ext>
              </a:extLst>
            </p:cNvPr>
            <p:cNvSpPr/>
            <p:nvPr/>
          </p:nvSpPr>
          <p:spPr>
            <a:xfrm>
              <a:off x="8752788" y="1647223"/>
              <a:ext cx="438403" cy="4053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aphicFrame>
        <p:nvGraphicFramePr>
          <p:cNvPr id="30" name="Tabella 29">
            <a:extLst>
              <a:ext uri="{FF2B5EF4-FFF2-40B4-BE49-F238E27FC236}">
                <a16:creationId xmlns:a16="http://schemas.microsoft.com/office/drawing/2014/main" id="{B51EE463-ED0C-4E28-8D15-323DECCFB5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0453049"/>
              </p:ext>
            </p:extLst>
          </p:nvPr>
        </p:nvGraphicFramePr>
        <p:xfrm>
          <a:off x="1564026" y="2889031"/>
          <a:ext cx="8485768" cy="533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0732">
                  <a:extLst>
                    <a:ext uri="{9D8B030D-6E8A-4147-A177-3AD203B41FA5}">
                      <a16:colId xmlns:a16="http://schemas.microsoft.com/office/drawing/2014/main" val="525831570"/>
                    </a:ext>
                  </a:extLst>
                </a:gridCol>
                <a:gridCol w="1260939">
                  <a:extLst>
                    <a:ext uri="{9D8B030D-6E8A-4147-A177-3AD203B41FA5}">
                      <a16:colId xmlns:a16="http://schemas.microsoft.com/office/drawing/2014/main" val="378222615"/>
                    </a:ext>
                  </a:extLst>
                </a:gridCol>
                <a:gridCol w="2860178">
                  <a:extLst>
                    <a:ext uri="{9D8B030D-6E8A-4147-A177-3AD203B41FA5}">
                      <a16:colId xmlns:a16="http://schemas.microsoft.com/office/drawing/2014/main" val="3195250065"/>
                    </a:ext>
                  </a:extLst>
                </a:gridCol>
                <a:gridCol w="3073919">
                  <a:extLst>
                    <a:ext uri="{9D8B030D-6E8A-4147-A177-3AD203B41FA5}">
                      <a16:colId xmlns:a16="http://schemas.microsoft.com/office/drawing/2014/main" val="2917630062"/>
                    </a:ext>
                  </a:extLst>
                </a:gridCol>
              </a:tblGrid>
              <a:tr h="249469"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latin typeface="+mj-lt"/>
                        </a:rPr>
                        <a:t>TCP/UDP </a:t>
                      </a:r>
                      <a:r>
                        <a:rPr lang="it-IT" sz="1200" dirty="0" err="1">
                          <a:latin typeface="+mj-lt"/>
                        </a:rPr>
                        <a:t>Header</a:t>
                      </a:r>
                      <a:endParaRPr lang="it-IT" sz="1200" dirty="0">
                        <a:latin typeface="+mj-lt"/>
                      </a:endParaRPr>
                    </a:p>
                  </a:txBody>
                  <a:tcPr>
                    <a:solidFill>
                      <a:srgbClr val="009C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 b="1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IPv4 </a:t>
                      </a:r>
                      <a:r>
                        <a:rPr lang="it-IT" sz="1200" b="1" kern="1200" dirty="0" err="1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Header</a:t>
                      </a:r>
                      <a:r>
                        <a:rPr lang="it-IT" sz="1200" b="1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(20 Bytes)</a:t>
                      </a:r>
                    </a:p>
                  </a:txBody>
                  <a:tcPr>
                    <a:solidFill>
                      <a:srgbClr val="009C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8719459"/>
                  </a:ext>
                </a:extLst>
              </a:tr>
              <a:tr h="232848">
                <a:tc>
                  <a:txBody>
                    <a:bodyPr/>
                    <a:lstStyle/>
                    <a:p>
                      <a:r>
                        <a:rPr lang="it-IT" sz="1100" dirty="0">
                          <a:latin typeface="+mj-lt"/>
                        </a:rPr>
                        <a:t>SPORT: 6783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03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PORT: 80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OURCE: 192.168.0.123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EST: 8.8.8.8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391431"/>
                  </a:ext>
                </a:extLst>
              </a:tr>
            </a:tbl>
          </a:graphicData>
        </a:graphic>
      </p:graphicFrame>
      <p:graphicFrame>
        <p:nvGraphicFramePr>
          <p:cNvPr id="31" name="Tabella 30">
            <a:extLst>
              <a:ext uri="{FF2B5EF4-FFF2-40B4-BE49-F238E27FC236}">
                <a16:creationId xmlns:a16="http://schemas.microsoft.com/office/drawing/2014/main" id="{781D03AF-0B71-B53D-57B0-DAD6DD32CD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478426"/>
              </p:ext>
            </p:extLst>
          </p:nvPr>
        </p:nvGraphicFramePr>
        <p:xfrm>
          <a:off x="1564026" y="3889566"/>
          <a:ext cx="8485768" cy="533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0732">
                  <a:extLst>
                    <a:ext uri="{9D8B030D-6E8A-4147-A177-3AD203B41FA5}">
                      <a16:colId xmlns:a16="http://schemas.microsoft.com/office/drawing/2014/main" val="525831570"/>
                    </a:ext>
                  </a:extLst>
                </a:gridCol>
                <a:gridCol w="1260939">
                  <a:extLst>
                    <a:ext uri="{9D8B030D-6E8A-4147-A177-3AD203B41FA5}">
                      <a16:colId xmlns:a16="http://schemas.microsoft.com/office/drawing/2014/main" val="378222615"/>
                    </a:ext>
                  </a:extLst>
                </a:gridCol>
                <a:gridCol w="2860178">
                  <a:extLst>
                    <a:ext uri="{9D8B030D-6E8A-4147-A177-3AD203B41FA5}">
                      <a16:colId xmlns:a16="http://schemas.microsoft.com/office/drawing/2014/main" val="3195250065"/>
                    </a:ext>
                  </a:extLst>
                </a:gridCol>
                <a:gridCol w="3073919">
                  <a:extLst>
                    <a:ext uri="{9D8B030D-6E8A-4147-A177-3AD203B41FA5}">
                      <a16:colId xmlns:a16="http://schemas.microsoft.com/office/drawing/2014/main" val="2917630062"/>
                    </a:ext>
                  </a:extLst>
                </a:gridCol>
              </a:tblGrid>
              <a:tr h="214537"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latin typeface="+mj-lt"/>
                        </a:rPr>
                        <a:t>TCP/UDP </a:t>
                      </a:r>
                      <a:r>
                        <a:rPr lang="it-IT" sz="1200" dirty="0" err="1">
                          <a:latin typeface="+mj-lt"/>
                        </a:rPr>
                        <a:t>Header</a:t>
                      </a:r>
                      <a:endParaRPr lang="it-IT" sz="1200" dirty="0">
                        <a:latin typeface="+mj-lt"/>
                      </a:endParaRPr>
                    </a:p>
                  </a:txBody>
                  <a:tcPr>
                    <a:solidFill>
                      <a:srgbClr val="009C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Pv4 </a:t>
                      </a:r>
                      <a:r>
                        <a:rPr lang="it-IT" sz="12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eader</a:t>
                      </a:r>
                      <a:r>
                        <a:rPr lang="it-IT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(20 Bytes)</a:t>
                      </a:r>
                    </a:p>
                  </a:txBody>
                  <a:tcPr>
                    <a:solidFill>
                      <a:srgbClr val="009C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8719459"/>
                  </a:ext>
                </a:extLst>
              </a:tr>
              <a:tr h="200243">
                <a:tc>
                  <a:txBody>
                    <a:bodyPr/>
                    <a:lstStyle/>
                    <a:p>
                      <a:r>
                        <a:rPr lang="it-IT" sz="1100" dirty="0">
                          <a:latin typeface="+mj-lt"/>
                        </a:rPr>
                        <a:t>SPORT: 1200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03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PORT: 80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OURCE: 151.230.60.51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EST: 8.8.8.8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391431"/>
                  </a:ext>
                </a:extLst>
              </a:tr>
            </a:tbl>
          </a:graphicData>
        </a:graphic>
      </p:graphicFrame>
      <p:graphicFrame>
        <p:nvGraphicFramePr>
          <p:cNvPr id="32" name="Tabella 31">
            <a:extLst>
              <a:ext uri="{FF2B5EF4-FFF2-40B4-BE49-F238E27FC236}">
                <a16:creationId xmlns:a16="http://schemas.microsoft.com/office/drawing/2014/main" id="{F0F468AA-A853-8525-E83B-45E3E50C89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9156253"/>
              </p:ext>
            </p:extLst>
          </p:nvPr>
        </p:nvGraphicFramePr>
        <p:xfrm>
          <a:off x="1564026" y="4890101"/>
          <a:ext cx="8485768" cy="533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0732">
                  <a:extLst>
                    <a:ext uri="{9D8B030D-6E8A-4147-A177-3AD203B41FA5}">
                      <a16:colId xmlns:a16="http://schemas.microsoft.com/office/drawing/2014/main" val="525831570"/>
                    </a:ext>
                  </a:extLst>
                </a:gridCol>
                <a:gridCol w="1260939">
                  <a:extLst>
                    <a:ext uri="{9D8B030D-6E8A-4147-A177-3AD203B41FA5}">
                      <a16:colId xmlns:a16="http://schemas.microsoft.com/office/drawing/2014/main" val="378222615"/>
                    </a:ext>
                  </a:extLst>
                </a:gridCol>
                <a:gridCol w="2860178">
                  <a:extLst>
                    <a:ext uri="{9D8B030D-6E8A-4147-A177-3AD203B41FA5}">
                      <a16:colId xmlns:a16="http://schemas.microsoft.com/office/drawing/2014/main" val="3195250065"/>
                    </a:ext>
                  </a:extLst>
                </a:gridCol>
                <a:gridCol w="3073919">
                  <a:extLst>
                    <a:ext uri="{9D8B030D-6E8A-4147-A177-3AD203B41FA5}">
                      <a16:colId xmlns:a16="http://schemas.microsoft.com/office/drawing/2014/main" val="2917630062"/>
                    </a:ext>
                  </a:extLst>
                </a:gridCol>
              </a:tblGrid>
              <a:tr h="241458"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latin typeface="+mj-lt"/>
                        </a:rPr>
                        <a:t>TCP/UDP </a:t>
                      </a:r>
                      <a:r>
                        <a:rPr lang="it-IT" sz="1200" dirty="0" err="1">
                          <a:latin typeface="+mj-lt"/>
                        </a:rPr>
                        <a:t>Header</a:t>
                      </a:r>
                      <a:endParaRPr lang="it-IT" sz="1200" dirty="0">
                        <a:latin typeface="+mj-lt"/>
                      </a:endParaRPr>
                    </a:p>
                  </a:txBody>
                  <a:tcPr>
                    <a:solidFill>
                      <a:srgbClr val="009C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 b="1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IPv6 </a:t>
                      </a:r>
                      <a:r>
                        <a:rPr lang="it-IT" sz="1200" b="1" kern="1200" dirty="0" err="1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Header</a:t>
                      </a:r>
                      <a:r>
                        <a:rPr lang="it-IT" sz="1200" b="1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(40 Bytes)</a:t>
                      </a:r>
                    </a:p>
                  </a:txBody>
                  <a:tcPr>
                    <a:solidFill>
                      <a:srgbClr val="009C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8719459"/>
                  </a:ext>
                </a:extLst>
              </a:tr>
              <a:tr h="225371">
                <a:tc>
                  <a:txBody>
                    <a:bodyPr/>
                    <a:lstStyle/>
                    <a:p>
                      <a:r>
                        <a:rPr lang="it-IT" sz="1100" dirty="0">
                          <a:latin typeface="+mj-lt"/>
                        </a:rPr>
                        <a:t>SPORT: 1200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03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PORT: 80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OURCE: 2001:db8:c:2:97:e63c:3300:0000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EST: 2001:db8:ffff:0:8:808:800:0000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391431"/>
                  </a:ext>
                </a:extLst>
              </a:tr>
            </a:tbl>
          </a:graphicData>
        </a:graphic>
      </p:graphicFrame>
      <p:graphicFrame>
        <p:nvGraphicFramePr>
          <p:cNvPr id="33" name="Tabella 32">
            <a:extLst>
              <a:ext uri="{FF2B5EF4-FFF2-40B4-BE49-F238E27FC236}">
                <a16:creationId xmlns:a16="http://schemas.microsoft.com/office/drawing/2014/main" id="{BE979793-1964-2D21-6706-C38B2F69D1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7770489"/>
              </p:ext>
            </p:extLst>
          </p:nvPr>
        </p:nvGraphicFramePr>
        <p:xfrm>
          <a:off x="1564025" y="5890636"/>
          <a:ext cx="8485768" cy="533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0732">
                  <a:extLst>
                    <a:ext uri="{9D8B030D-6E8A-4147-A177-3AD203B41FA5}">
                      <a16:colId xmlns:a16="http://schemas.microsoft.com/office/drawing/2014/main" val="525831570"/>
                    </a:ext>
                  </a:extLst>
                </a:gridCol>
                <a:gridCol w="1260939">
                  <a:extLst>
                    <a:ext uri="{9D8B030D-6E8A-4147-A177-3AD203B41FA5}">
                      <a16:colId xmlns:a16="http://schemas.microsoft.com/office/drawing/2014/main" val="378222615"/>
                    </a:ext>
                  </a:extLst>
                </a:gridCol>
                <a:gridCol w="2860178">
                  <a:extLst>
                    <a:ext uri="{9D8B030D-6E8A-4147-A177-3AD203B41FA5}">
                      <a16:colId xmlns:a16="http://schemas.microsoft.com/office/drawing/2014/main" val="3195250065"/>
                    </a:ext>
                  </a:extLst>
                </a:gridCol>
                <a:gridCol w="3073919">
                  <a:extLst>
                    <a:ext uri="{9D8B030D-6E8A-4147-A177-3AD203B41FA5}">
                      <a16:colId xmlns:a16="http://schemas.microsoft.com/office/drawing/2014/main" val="2917630062"/>
                    </a:ext>
                  </a:extLst>
                </a:gridCol>
              </a:tblGrid>
              <a:tr h="214537"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latin typeface="+mj-lt"/>
                        </a:rPr>
                        <a:t>TCP/UDP </a:t>
                      </a:r>
                      <a:r>
                        <a:rPr lang="it-IT" sz="1200" dirty="0" err="1">
                          <a:latin typeface="+mj-lt"/>
                        </a:rPr>
                        <a:t>Header</a:t>
                      </a:r>
                      <a:endParaRPr lang="it-IT" sz="1200" dirty="0">
                        <a:latin typeface="+mj-lt"/>
                      </a:endParaRPr>
                    </a:p>
                  </a:txBody>
                  <a:tcPr>
                    <a:solidFill>
                      <a:srgbClr val="009C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IPv4 </a:t>
                      </a:r>
                      <a:r>
                        <a:rPr lang="it-IT" sz="1200" b="1" kern="120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Header</a:t>
                      </a:r>
                      <a:r>
                        <a:rPr lang="it-IT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(20 Bytes)</a:t>
                      </a:r>
                    </a:p>
                  </a:txBody>
                  <a:tcPr>
                    <a:solidFill>
                      <a:srgbClr val="009C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8719459"/>
                  </a:ext>
                </a:extLst>
              </a:tr>
              <a:tr h="200243">
                <a:tc>
                  <a:txBody>
                    <a:bodyPr/>
                    <a:lstStyle/>
                    <a:p>
                      <a:r>
                        <a:rPr lang="it-IT" sz="1100" dirty="0">
                          <a:latin typeface="+mj-lt"/>
                        </a:rPr>
                        <a:t>SPORT: 1200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037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PORT: 80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OURCE: 151.230.60.51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DEST: 8.8.8.8</a:t>
                      </a:r>
                    </a:p>
                  </a:txBody>
                  <a:tcPr anchor="ctr">
                    <a:solidFill>
                      <a:srgbClr val="87D0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391431"/>
                  </a:ext>
                </a:extLst>
              </a:tr>
            </a:tbl>
          </a:graphicData>
        </a:graphic>
      </p:graphicFrame>
      <p:cxnSp>
        <p:nvCxnSpPr>
          <p:cNvPr id="35" name="Connettore 2 34">
            <a:extLst>
              <a:ext uri="{FF2B5EF4-FFF2-40B4-BE49-F238E27FC236}">
                <a16:creationId xmlns:a16="http://schemas.microsoft.com/office/drawing/2014/main" id="{A5F4354D-7641-9784-614A-1D8F28CFCF8D}"/>
              </a:ext>
            </a:extLst>
          </p:cNvPr>
          <p:cNvCxnSpPr/>
          <p:nvPr/>
        </p:nvCxnSpPr>
        <p:spPr>
          <a:xfrm>
            <a:off x="2657475" y="1238250"/>
            <a:ext cx="0" cy="396000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2 35">
            <a:extLst>
              <a:ext uri="{FF2B5EF4-FFF2-40B4-BE49-F238E27FC236}">
                <a16:creationId xmlns:a16="http://schemas.microsoft.com/office/drawing/2014/main" id="{4C246CF9-840C-9076-C338-A84A76A0AC30}"/>
              </a:ext>
            </a:extLst>
          </p:cNvPr>
          <p:cNvCxnSpPr/>
          <p:nvPr/>
        </p:nvCxnSpPr>
        <p:spPr>
          <a:xfrm>
            <a:off x="6677025" y="1238250"/>
            <a:ext cx="0" cy="396000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2 36">
            <a:extLst>
              <a:ext uri="{FF2B5EF4-FFF2-40B4-BE49-F238E27FC236}">
                <a16:creationId xmlns:a16="http://schemas.microsoft.com/office/drawing/2014/main" id="{6D526A43-7DCF-14B2-0B02-30C8B848B24E}"/>
              </a:ext>
            </a:extLst>
          </p:cNvPr>
          <p:cNvCxnSpPr>
            <a:cxnSpLocks/>
          </p:cNvCxnSpPr>
          <p:nvPr/>
        </p:nvCxnSpPr>
        <p:spPr>
          <a:xfrm>
            <a:off x="3341232" y="1419225"/>
            <a:ext cx="0" cy="215025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704F57DE-7B2E-5A12-0F9C-ACA7742CBB09}"/>
              </a:ext>
            </a:extLst>
          </p:cNvPr>
          <p:cNvSpPr txBox="1"/>
          <p:nvPr/>
        </p:nvSpPr>
        <p:spPr>
          <a:xfrm>
            <a:off x="2412048" y="1266157"/>
            <a:ext cx="285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+mj-lt"/>
              </a:rPr>
              <a:t>1</a:t>
            </a:r>
            <a:endParaRPr lang="it-IT" dirty="0">
              <a:latin typeface="+mj-lt"/>
            </a:endParaRPr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EFC2D7E2-DC30-19E9-C9D6-97669ACDD5C5}"/>
              </a:ext>
            </a:extLst>
          </p:cNvPr>
          <p:cNvSpPr txBox="1"/>
          <p:nvPr/>
        </p:nvSpPr>
        <p:spPr>
          <a:xfrm>
            <a:off x="3055482" y="1437337"/>
            <a:ext cx="285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+mj-lt"/>
              </a:rPr>
              <a:t>2</a:t>
            </a:r>
            <a:endParaRPr lang="it-IT" dirty="0">
              <a:latin typeface="+mj-lt"/>
            </a:endParaRP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521722F3-7BBD-9E6B-0D1D-E8D30CB28728}"/>
              </a:ext>
            </a:extLst>
          </p:cNvPr>
          <p:cNvSpPr txBox="1"/>
          <p:nvPr/>
        </p:nvSpPr>
        <p:spPr>
          <a:xfrm>
            <a:off x="6401431" y="1257877"/>
            <a:ext cx="285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+mj-lt"/>
              </a:rPr>
              <a:t>3</a:t>
            </a:r>
            <a:endParaRPr lang="it-IT" dirty="0">
              <a:latin typeface="+mj-lt"/>
            </a:endParaRPr>
          </a:p>
        </p:txBody>
      </p:sp>
      <p:cxnSp>
        <p:nvCxnSpPr>
          <p:cNvPr id="43" name="Connettore 2 42">
            <a:extLst>
              <a:ext uri="{FF2B5EF4-FFF2-40B4-BE49-F238E27FC236}">
                <a16:creationId xmlns:a16="http://schemas.microsoft.com/office/drawing/2014/main" id="{53DE669F-20E7-CC09-5056-3114404071EC}"/>
              </a:ext>
            </a:extLst>
          </p:cNvPr>
          <p:cNvCxnSpPr/>
          <p:nvPr/>
        </p:nvCxnSpPr>
        <p:spPr>
          <a:xfrm>
            <a:off x="1372779" y="3441481"/>
            <a:ext cx="0" cy="396000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2 43">
            <a:extLst>
              <a:ext uri="{FF2B5EF4-FFF2-40B4-BE49-F238E27FC236}">
                <a16:creationId xmlns:a16="http://schemas.microsoft.com/office/drawing/2014/main" id="{9B9EDBA6-164D-05E8-EB13-9FEDDE29CE0A}"/>
              </a:ext>
            </a:extLst>
          </p:cNvPr>
          <p:cNvCxnSpPr/>
          <p:nvPr/>
        </p:nvCxnSpPr>
        <p:spPr>
          <a:xfrm>
            <a:off x="1383483" y="4465526"/>
            <a:ext cx="0" cy="396000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2 44">
            <a:extLst>
              <a:ext uri="{FF2B5EF4-FFF2-40B4-BE49-F238E27FC236}">
                <a16:creationId xmlns:a16="http://schemas.microsoft.com/office/drawing/2014/main" id="{67ED74F2-B472-BE9F-B286-9613B07DA87B}"/>
              </a:ext>
            </a:extLst>
          </p:cNvPr>
          <p:cNvCxnSpPr/>
          <p:nvPr/>
        </p:nvCxnSpPr>
        <p:spPr>
          <a:xfrm>
            <a:off x="1382304" y="5442551"/>
            <a:ext cx="0" cy="396000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asellaDiTesto 45">
            <a:extLst>
              <a:ext uri="{FF2B5EF4-FFF2-40B4-BE49-F238E27FC236}">
                <a16:creationId xmlns:a16="http://schemas.microsoft.com/office/drawing/2014/main" id="{DA7DF28B-003C-61F1-F8A0-80EAD5611842}"/>
              </a:ext>
            </a:extLst>
          </p:cNvPr>
          <p:cNvSpPr txBox="1"/>
          <p:nvPr/>
        </p:nvSpPr>
        <p:spPr>
          <a:xfrm>
            <a:off x="1115694" y="3441481"/>
            <a:ext cx="285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+mj-lt"/>
              </a:rPr>
              <a:t>1</a:t>
            </a:r>
            <a:endParaRPr lang="it-IT" dirty="0">
              <a:latin typeface="+mj-lt"/>
            </a:endParaRPr>
          </a:p>
        </p:txBody>
      </p: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4F5562CF-442B-3354-5788-2C735115A58A}"/>
              </a:ext>
            </a:extLst>
          </p:cNvPr>
          <p:cNvSpPr txBox="1"/>
          <p:nvPr/>
        </p:nvSpPr>
        <p:spPr>
          <a:xfrm>
            <a:off x="1115694" y="4508327"/>
            <a:ext cx="285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+mj-lt"/>
              </a:rPr>
              <a:t>2</a:t>
            </a:r>
            <a:endParaRPr lang="it-IT" dirty="0">
              <a:latin typeface="+mj-lt"/>
            </a:endParaRPr>
          </a:p>
        </p:txBody>
      </p:sp>
      <p:sp>
        <p:nvSpPr>
          <p:cNvPr id="48" name="CasellaDiTesto 47">
            <a:extLst>
              <a:ext uri="{FF2B5EF4-FFF2-40B4-BE49-F238E27FC236}">
                <a16:creationId xmlns:a16="http://schemas.microsoft.com/office/drawing/2014/main" id="{AD173041-7B66-1449-9A7B-7914A1ECB96A}"/>
              </a:ext>
            </a:extLst>
          </p:cNvPr>
          <p:cNvSpPr txBox="1"/>
          <p:nvPr/>
        </p:nvSpPr>
        <p:spPr>
          <a:xfrm>
            <a:off x="1115694" y="5456172"/>
            <a:ext cx="285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+mj-lt"/>
              </a:rPr>
              <a:t>3</a:t>
            </a:r>
            <a:endParaRPr lang="it-IT" dirty="0">
              <a:latin typeface="+mj-lt"/>
            </a:endParaRPr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9E5B1009-B09F-BFC0-2944-14D0E94A07EE}"/>
              </a:ext>
            </a:extLst>
          </p:cNvPr>
          <p:cNvSpPr txBox="1"/>
          <p:nvPr/>
        </p:nvSpPr>
        <p:spPr>
          <a:xfrm>
            <a:off x="1564025" y="3557528"/>
            <a:ext cx="84857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+mj-lt"/>
              </a:rPr>
              <a:t>Stateful NAPT44 translates both source port and source address</a:t>
            </a:r>
            <a:endParaRPr lang="it-IT" sz="1400" dirty="0">
              <a:latin typeface="+mj-lt"/>
            </a:endParaRP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6D64B7FF-6C97-D3C6-4E18-93F91256BF7E}"/>
              </a:ext>
            </a:extLst>
          </p:cNvPr>
          <p:cNvSpPr txBox="1"/>
          <p:nvPr/>
        </p:nvSpPr>
        <p:spPr>
          <a:xfrm>
            <a:off x="1564025" y="4572360"/>
            <a:ext cx="84857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+mj-lt"/>
              </a:rPr>
              <a:t>MAP-T on CPE translates source address based on BMR, and destination address based on DMR and RFC6052</a:t>
            </a:r>
            <a:endParaRPr lang="it-IT" sz="1400" dirty="0">
              <a:latin typeface="+mj-lt"/>
            </a:endParaRP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2FD0C9BA-E2B9-00A3-06A4-90AF475304CE}"/>
              </a:ext>
            </a:extLst>
          </p:cNvPr>
          <p:cNvSpPr txBox="1"/>
          <p:nvPr/>
        </p:nvSpPr>
        <p:spPr>
          <a:xfrm>
            <a:off x="1573550" y="5420085"/>
            <a:ext cx="84857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+mj-lt"/>
              </a:rPr>
              <a:t>MAP-T Border Relay translates source address based on BMR, and destination address based on DMR and RFC6052</a:t>
            </a:r>
            <a:endParaRPr lang="it-IT" sz="1400" dirty="0">
              <a:latin typeface="+mj-lt"/>
            </a:endParaRPr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F44ED61E-D53C-313F-1E71-B1F6CD110F63}"/>
              </a:ext>
            </a:extLst>
          </p:cNvPr>
          <p:cNvSpPr txBox="1"/>
          <p:nvPr/>
        </p:nvSpPr>
        <p:spPr>
          <a:xfrm>
            <a:off x="1682682" y="2270537"/>
            <a:ext cx="14587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+mj-lt"/>
              </a:rPr>
              <a:t>192.168.0.0/20</a:t>
            </a:r>
          </a:p>
          <a:p>
            <a:r>
              <a:rPr lang="it-IT" sz="1200" dirty="0">
                <a:latin typeface="+mj-lt"/>
              </a:rPr>
              <a:t>2001:dB8:c:2::/64</a:t>
            </a:r>
            <a:endParaRPr lang="it-IT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2939212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4">
            <a:extLst>
              <a:ext uri="{FF2B5EF4-FFF2-40B4-BE49-F238E27FC236}">
                <a16:creationId xmlns:a16="http://schemas.microsoft.com/office/drawing/2014/main" id="{D540E193-897D-2F55-29AD-E11B0BDF75DA}"/>
              </a:ext>
            </a:extLst>
          </p:cNvPr>
          <p:cNvSpPr/>
          <p:nvPr/>
        </p:nvSpPr>
        <p:spPr>
          <a:xfrm>
            <a:off x="671407" y="1042219"/>
            <a:ext cx="3930720" cy="5368105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endParaRPr lang="en-AU" sz="12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80C64C27-740A-FC3C-6722-6CF94DC20FB4}"/>
              </a:ext>
            </a:extLst>
          </p:cNvPr>
          <p:cNvSpPr txBox="1">
            <a:spLocks/>
          </p:cNvSpPr>
          <p:nvPr/>
        </p:nvSpPr>
        <p:spPr>
          <a:xfrm>
            <a:off x="1131341" y="843010"/>
            <a:ext cx="3057832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Why MAP-T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IPv6 Experience</a:t>
            </a:r>
          </a:p>
        </p:txBody>
      </p: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A48B12C6-F7CE-61C4-ED71-EDB92C72C7C6}"/>
              </a:ext>
            </a:extLst>
          </p:cNvPr>
          <p:cNvGrpSpPr/>
          <p:nvPr/>
        </p:nvGrpSpPr>
        <p:grpSpPr>
          <a:xfrm>
            <a:off x="6968060" y="3207538"/>
            <a:ext cx="4538597" cy="2972242"/>
            <a:chOff x="6348935" y="1261092"/>
            <a:chExt cx="4538597" cy="2972242"/>
          </a:xfrm>
        </p:grpSpPr>
        <p:pic>
          <p:nvPicPr>
            <p:cNvPr id="12" name="Immagine 11">
              <a:extLst>
                <a:ext uri="{FF2B5EF4-FFF2-40B4-BE49-F238E27FC236}">
                  <a16:creationId xmlns:a16="http://schemas.microsoft.com/office/drawing/2014/main" id="{08732F82-EEEB-D156-CCFC-A9469F199C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91275" y="1261092"/>
              <a:ext cx="4496257" cy="429731"/>
            </a:xfrm>
            <a:prstGeom prst="rect">
              <a:avLst/>
            </a:prstGeom>
          </p:spPr>
        </p:pic>
        <p:pic>
          <p:nvPicPr>
            <p:cNvPr id="13" name="Immagine 12">
              <a:extLst>
                <a:ext uri="{FF2B5EF4-FFF2-40B4-BE49-F238E27FC236}">
                  <a16:creationId xmlns:a16="http://schemas.microsoft.com/office/drawing/2014/main" id="{AD63AEA0-8B4F-CF0F-D933-310C4CEB66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91275" y="2540147"/>
              <a:ext cx="4023770" cy="821697"/>
            </a:xfrm>
            <a:prstGeom prst="rect">
              <a:avLst/>
            </a:prstGeom>
          </p:spPr>
        </p:pic>
        <p:sp>
          <p:nvSpPr>
            <p:cNvPr id="14" name="Content Placeholder 6">
              <a:extLst>
                <a:ext uri="{FF2B5EF4-FFF2-40B4-BE49-F238E27FC236}">
                  <a16:creationId xmlns:a16="http://schemas.microsoft.com/office/drawing/2014/main" id="{B836091E-4124-8F43-30C5-C5CEB4D76CDE}"/>
                </a:ext>
              </a:extLst>
            </p:cNvPr>
            <p:cNvSpPr txBox="1">
              <a:spLocks/>
            </p:cNvSpPr>
            <p:nvPr/>
          </p:nvSpPr>
          <p:spPr>
            <a:xfrm>
              <a:off x="6348935" y="1611089"/>
              <a:ext cx="4108450" cy="928640"/>
            </a:xfrm>
            <a:prstGeom prst="rect">
              <a:avLst/>
            </a:prstGeom>
          </p:spPr>
          <p:txBody>
            <a:bodyPr rtlCol="0">
              <a:noAutofit/>
            </a:bodyPr>
            <a:lstStyle>
              <a:lvl1pPr marL="438891" indent="-438891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409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50928" indent="-365742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35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462968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07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048153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33340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218527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03714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88901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974087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1170432">
                <a:spcBef>
                  <a:spcPts val="768"/>
                </a:spcBef>
                <a:buFont typeface="Arial" panose="020B0604020202020204" pitchFamily="34" charset="0"/>
                <a:buNone/>
                <a:defRPr/>
              </a:pPr>
              <a:r>
                <a:rPr lang="en-US" sz="1600" dirty="0">
                  <a:solidFill>
                    <a:srgbClr val="009CDD"/>
                  </a:solidFill>
                  <a:latin typeface="+mj-lt"/>
                </a:rPr>
                <a:t>RFC7597: MAP-E (Encapsulation)</a:t>
              </a:r>
            </a:p>
            <a:p>
              <a:pPr marL="0" indent="0" defTabSz="1170432">
                <a:spcBef>
                  <a:spcPts val="768"/>
                </a:spcBef>
                <a:buFont typeface="Arial" panose="020B0604020202020204" pitchFamily="34" charset="0"/>
                <a:buNone/>
                <a:defRPr/>
              </a:pPr>
              <a:r>
                <a:rPr lang="en-US" sz="1200" dirty="0">
                  <a:latin typeface="+mj-lt"/>
                </a:rPr>
                <a:t>Larger per-packet overhead.</a:t>
              </a:r>
            </a:p>
            <a:p>
              <a:pPr marL="0" indent="0" defTabSz="1170432">
                <a:spcBef>
                  <a:spcPts val="768"/>
                </a:spcBef>
                <a:buFont typeface="Arial" panose="020B0604020202020204" pitchFamily="34" charset="0"/>
                <a:buNone/>
                <a:defRPr/>
              </a:pPr>
              <a:r>
                <a:rPr lang="en-US" sz="1200" dirty="0">
                  <a:latin typeface="+mj-lt"/>
                </a:rPr>
                <a:t>IPv4 header remains intact.</a:t>
              </a:r>
              <a:endParaRPr lang="en-US" sz="1600" dirty="0">
                <a:latin typeface="+mj-lt"/>
              </a:endParaRPr>
            </a:p>
            <a:p>
              <a:pPr marL="229617" indent="-229617" defTabSz="1170432">
                <a:spcBef>
                  <a:spcPts val="768"/>
                </a:spcBef>
                <a:defRPr/>
              </a:pPr>
              <a:endParaRPr lang="en-US" sz="1600" dirty="0">
                <a:latin typeface="+mj-lt"/>
              </a:endParaRPr>
            </a:p>
            <a:p>
              <a:pPr marL="229617" indent="-229617" defTabSz="1170432">
                <a:spcBef>
                  <a:spcPts val="768"/>
                </a:spcBef>
                <a:defRPr/>
              </a:pPr>
              <a:endParaRPr lang="en-US" sz="1600" dirty="0">
                <a:latin typeface="+mj-lt"/>
              </a:endParaRPr>
            </a:p>
          </p:txBody>
        </p:sp>
        <p:sp>
          <p:nvSpPr>
            <p:cNvPr id="20" name="Content Placeholder 6">
              <a:extLst>
                <a:ext uri="{FF2B5EF4-FFF2-40B4-BE49-F238E27FC236}">
                  <a16:creationId xmlns:a16="http://schemas.microsoft.com/office/drawing/2014/main" id="{FE36D03B-AFC3-68C2-28D4-91690E9ADDAD}"/>
                </a:ext>
              </a:extLst>
            </p:cNvPr>
            <p:cNvSpPr txBox="1">
              <a:spLocks/>
            </p:cNvSpPr>
            <p:nvPr/>
          </p:nvSpPr>
          <p:spPr>
            <a:xfrm>
              <a:off x="6383303" y="3304694"/>
              <a:ext cx="4136517" cy="928640"/>
            </a:xfrm>
            <a:prstGeom prst="rect">
              <a:avLst/>
            </a:prstGeom>
          </p:spPr>
          <p:txBody>
            <a:bodyPr rtlCol="0">
              <a:noAutofit/>
            </a:bodyPr>
            <a:lstStyle>
              <a:lvl1pPr marL="438891" indent="-438891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409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50928" indent="-365742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3584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462968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072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048153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33340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218527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803714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388901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974087" indent="-292593" algn="l" defTabSz="1170374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1170432">
                <a:spcBef>
                  <a:spcPts val="768"/>
                </a:spcBef>
                <a:buFont typeface="Arial" panose="020B0604020202020204" pitchFamily="34" charset="0"/>
                <a:buNone/>
                <a:defRPr/>
              </a:pPr>
              <a:r>
                <a:rPr lang="en-US" sz="1600" dirty="0">
                  <a:solidFill>
                    <a:srgbClr val="009CDD"/>
                  </a:solidFill>
                  <a:latin typeface="+mj-lt"/>
                </a:rPr>
                <a:t>RFC7599: MAP-T  (Translation)</a:t>
              </a:r>
            </a:p>
            <a:p>
              <a:pPr marL="0" indent="0" defTabSz="1170432">
                <a:spcBef>
                  <a:spcPts val="768"/>
                </a:spcBef>
                <a:buFont typeface="Arial" panose="020B0604020202020204" pitchFamily="34" charset="0"/>
                <a:buNone/>
                <a:defRPr/>
              </a:pPr>
              <a:r>
                <a:rPr lang="en-US" sz="1200" dirty="0">
                  <a:latin typeface="+mj-lt"/>
                </a:rPr>
                <a:t>Less per-packet overhead (not zero!)</a:t>
              </a:r>
            </a:p>
            <a:p>
              <a:pPr marL="0" indent="0" defTabSz="1170432">
                <a:spcBef>
                  <a:spcPts val="768"/>
                </a:spcBef>
                <a:buFont typeface="Arial" panose="020B0604020202020204" pitchFamily="34" charset="0"/>
                <a:buNone/>
                <a:defRPr/>
              </a:pPr>
              <a:r>
                <a:rPr lang="en-US" sz="1200" dirty="0">
                  <a:latin typeface="+mj-lt"/>
                </a:rPr>
                <a:t>Loses IPv4-only header attributes.</a:t>
              </a:r>
              <a:endParaRPr lang="en-US" sz="1600" dirty="0">
                <a:latin typeface="+mj-lt"/>
              </a:endParaRPr>
            </a:p>
            <a:p>
              <a:pPr marL="229617" indent="-229617" defTabSz="1170432">
                <a:spcBef>
                  <a:spcPts val="768"/>
                </a:spcBef>
                <a:defRPr/>
              </a:pPr>
              <a:endParaRPr lang="en-US" sz="1600" dirty="0">
                <a:latin typeface="+mj-lt"/>
              </a:endParaRPr>
            </a:p>
          </p:txBody>
        </p:sp>
      </p:grpSp>
      <p:sp>
        <p:nvSpPr>
          <p:cNvPr id="21" name="Rectangle 124">
            <a:extLst>
              <a:ext uri="{FF2B5EF4-FFF2-40B4-BE49-F238E27FC236}">
                <a16:creationId xmlns:a16="http://schemas.microsoft.com/office/drawing/2014/main" id="{92966EBC-5410-2A38-2BC4-B67553FA1FE2}"/>
              </a:ext>
            </a:extLst>
          </p:cNvPr>
          <p:cNvSpPr/>
          <p:nvPr/>
        </p:nvSpPr>
        <p:spPr>
          <a:xfrm>
            <a:off x="1361553" y="1340395"/>
            <a:ext cx="4305822" cy="700856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600" b="1" dirty="0">
                <a:solidFill>
                  <a:srgbClr val="333333"/>
                </a:solidFill>
                <a:latin typeface="Sky Text"/>
              </a:rPr>
              <a:t>Sky </a:t>
            </a:r>
            <a:r>
              <a:rPr lang="en-AU" sz="1600" b="1" dirty="0" err="1">
                <a:solidFill>
                  <a:srgbClr val="333333"/>
                </a:solidFill>
                <a:latin typeface="Sky Text"/>
              </a:rPr>
              <a:t>Wifi</a:t>
            </a:r>
            <a:r>
              <a:rPr lang="en-AU" sz="1600" b="1" dirty="0">
                <a:solidFill>
                  <a:srgbClr val="333333"/>
                </a:solidFill>
                <a:latin typeface="Sky Text"/>
              </a:rPr>
              <a:t> </a:t>
            </a:r>
            <a:r>
              <a:rPr lang="en-AU" sz="1600" dirty="0">
                <a:solidFill>
                  <a:srgbClr val="333333"/>
                </a:solidFill>
                <a:latin typeface="Sky Text"/>
              </a:rPr>
              <a:t>was born as a</a:t>
            </a:r>
            <a:r>
              <a:rPr lang="en-AU" sz="1600" b="1" dirty="0">
                <a:solidFill>
                  <a:srgbClr val="333333"/>
                </a:solidFill>
                <a:latin typeface="Sky Text"/>
              </a:rPr>
              <a:t> Greenfield Network</a:t>
            </a:r>
          </a:p>
        </p:txBody>
      </p:sp>
      <p:sp>
        <p:nvSpPr>
          <p:cNvPr id="22" name="Rectangle 124">
            <a:extLst>
              <a:ext uri="{FF2B5EF4-FFF2-40B4-BE49-F238E27FC236}">
                <a16:creationId xmlns:a16="http://schemas.microsoft.com/office/drawing/2014/main" id="{0F3AC811-7A45-D95E-623D-311B1074DE5A}"/>
              </a:ext>
            </a:extLst>
          </p:cNvPr>
          <p:cNvSpPr/>
          <p:nvPr/>
        </p:nvSpPr>
        <p:spPr>
          <a:xfrm>
            <a:off x="1363105" y="3311019"/>
            <a:ext cx="4304270" cy="700856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600" b="1" dirty="0">
                <a:solidFill>
                  <a:srgbClr val="333333"/>
                </a:solidFill>
                <a:latin typeface="Sky Text"/>
              </a:rPr>
              <a:t>Stateless</a:t>
            </a:r>
          </a:p>
          <a:p>
            <a:pPr algn="ctr" defTabSz="877824">
              <a:defRPr/>
            </a:pPr>
            <a:r>
              <a:rPr lang="en-AU" sz="1100" dirty="0">
                <a:solidFill>
                  <a:srgbClr val="333333"/>
                </a:solidFill>
                <a:latin typeface="Sky Text"/>
              </a:rPr>
              <a:t>MAP Border Relays (BR) do not have to keep track and state of every flow</a:t>
            </a:r>
          </a:p>
        </p:txBody>
      </p:sp>
      <p:sp>
        <p:nvSpPr>
          <p:cNvPr id="23" name="Rectangle 124">
            <a:extLst>
              <a:ext uri="{FF2B5EF4-FFF2-40B4-BE49-F238E27FC236}">
                <a16:creationId xmlns:a16="http://schemas.microsoft.com/office/drawing/2014/main" id="{F9FE7737-4692-E0D7-666E-087250B9373A}"/>
              </a:ext>
            </a:extLst>
          </p:cNvPr>
          <p:cNvSpPr/>
          <p:nvPr/>
        </p:nvSpPr>
        <p:spPr>
          <a:xfrm>
            <a:off x="1361553" y="5281644"/>
            <a:ext cx="4305822" cy="700856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600" b="1" dirty="0">
                <a:solidFill>
                  <a:srgbClr val="333333"/>
                </a:solidFill>
                <a:latin typeface="Sky Text"/>
              </a:rPr>
              <a:t>Efficiency</a:t>
            </a:r>
          </a:p>
        </p:txBody>
      </p:sp>
      <p:sp>
        <p:nvSpPr>
          <p:cNvPr id="24" name="Rectangle 124">
            <a:extLst>
              <a:ext uri="{FF2B5EF4-FFF2-40B4-BE49-F238E27FC236}">
                <a16:creationId xmlns:a16="http://schemas.microsoft.com/office/drawing/2014/main" id="{A69C5887-327A-6003-79B1-2B73D2C0C17D}"/>
              </a:ext>
            </a:extLst>
          </p:cNvPr>
          <p:cNvSpPr/>
          <p:nvPr/>
        </p:nvSpPr>
        <p:spPr>
          <a:xfrm>
            <a:off x="1361553" y="4296331"/>
            <a:ext cx="4305822" cy="700856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600" b="1" dirty="0">
                <a:solidFill>
                  <a:srgbClr val="333333"/>
                </a:solidFill>
                <a:latin typeface="Sky Text"/>
              </a:rPr>
              <a:t>IPv4 sharing</a:t>
            </a:r>
          </a:p>
          <a:p>
            <a:pPr algn="ctr" defTabSz="877824">
              <a:defRPr/>
            </a:pPr>
            <a:r>
              <a:rPr lang="en-AU" sz="1100" dirty="0">
                <a:solidFill>
                  <a:srgbClr val="333333"/>
                </a:solidFill>
                <a:latin typeface="Sky Text"/>
              </a:rPr>
              <a:t>Sky </a:t>
            </a:r>
            <a:r>
              <a:rPr lang="en-AU" sz="1100" dirty="0" err="1">
                <a:solidFill>
                  <a:srgbClr val="333333"/>
                </a:solidFill>
                <a:latin typeface="Sky Text"/>
              </a:rPr>
              <a:t>WiFi</a:t>
            </a:r>
            <a:r>
              <a:rPr lang="en-AU" sz="1100" dirty="0">
                <a:solidFill>
                  <a:srgbClr val="333333"/>
                </a:solidFill>
                <a:latin typeface="Sky Text"/>
              </a:rPr>
              <a:t> uses 1:16 IPv4 ratio sharing</a:t>
            </a:r>
          </a:p>
        </p:txBody>
      </p:sp>
      <p:sp>
        <p:nvSpPr>
          <p:cNvPr id="25" name="Rectangle 124">
            <a:extLst>
              <a:ext uri="{FF2B5EF4-FFF2-40B4-BE49-F238E27FC236}">
                <a16:creationId xmlns:a16="http://schemas.microsoft.com/office/drawing/2014/main" id="{11184845-E72D-E3FE-C4F1-8DBA8F063F20}"/>
              </a:ext>
            </a:extLst>
          </p:cNvPr>
          <p:cNvSpPr/>
          <p:nvPr/>
        </p:nvSpPr>
        <p:spPr>
          <a:xfrm>
            <a:off x="1361553" y="2325707"/>
            <a:ext cx="4305822" cy="700856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600" b="1" dirty="0">
                <a:solidFill>
                  <a:srgbClr val="333333"/>
                </a:solidFill>
                <a:latin typeface="Sky Text"/>
              </a:rPr>
              <a:t>IPv6-only Access Layer</a:t>
            </a:r>
          </a:p>
        </p:txBody>
      </p:sp>
      <p:pic>
        <p:nvPicPr>
          <p:cNvPr id="27" name="Immagine 26">
            <a:extLst>
              <a:ext uri="{FF2B5EF4-FFF2-40B4-BE49-F238E27FC236}">
                <a16:creationId xmlns:a16="http://schemas.microsoft.com/office/drawing/2014/main" id="{77C098C9-9603-E8CD-8E65-E2B5045648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02428" y="936287"/>
            <a:ext cx="3694520" cy="1951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80165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4">
            <a:extLst>
              <a:ext uri="{FF2B5EF4-FFF2-40B4-BE49-F238E27FC236}">
                <a16:creationId xmlns:a16="http://schemas.microsoft.com/office/drawing/2014/main" id="{FACA15F1-D794-A71E-607D-067B08D14133}"/>
              </a:ext>
            </a:extLst>
          </p:cNvPr>
          <p:cNvSpPr/>
          <p:nvPr/>
        </p:nvSpPr>
        <p:spPr>
          <a:xfrm>
            <a:off x="278906" y="890547"/>
            <a:ext cx="11218679" cy="5519778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endParaRPr lang="en-AU" sz="12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DE454234-CA0B-1228-3776-F7DC1DCC894C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IPv4 vs IPv6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341EA064-9983-8CB5-09D9-3EE8CA929A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769" y="1273677"/>
            <a:ext cx="5802364" cy="3562239"/>
          </a:xfrm>
          <a:prstGeom prst="rect">
            <a:avLst/>
          </a:prstGeom>
        </p:spPr>
      </p:pic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0A913525-321A-FB9D-74C8-57FA7F662A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6757103"/>
              </p:ext>
            </p:extLst>
          </p:nvPr>
        </p:nvGraphicFramePr>
        <p:xfrm>
          <a:off x="6352491" y="2145506"/>
          <a:ext cx="5030736" cy="2292350"/>
        </p:xfrm>
        <a:graphic>
          <a:graphicData uri="http://schemas.openxmlformats.org/drawingml/2006/table">
            <a:tbl>
              <a:tblPr/>
              <a:tblGrid>
                <a:gridCol w="654733">
                  <a:extLst>
                    <a:ext uri="{9D8B030D-6E8A-4147-A177-3AD203B41FA5}">
                      <a16:colId xmlns:a16="http://schemas.microsoft.com/office/drawing/2014/main" val="2557494892"/>
                    </a:ext>
                  </a:extLst>
                </a:gridCol>
                <a:gridCol w="1061884">
                  <a:extLst>
                    <a:ext uri="{9D8B030D-6E8A-4147-A177-3AD203B41FA5}">
                      <a16:colId xmlns:a16="http://schemas.microsoft.com/office/drawing/2014/main" val="3056018255"/>
                    </a:ext>
                  </a:extLst>
                </a:gridCol>
                <a:gridCol w="904568">
                  <a:extLst>
                    <a:ext uri="{9D8B030D-6E8A-4147-A177-3AD203B41FA5}">
                      <a16:colId xmlns:a16="http://schemas.microsoft.com/office/drawing/2014/main" val="2134810058"/>
                    </a:ext>
                  </a:extLst>
                </a:gridCol>
                <a:gridCol w="1111045">
                  <a:extLst>
                    <a:ext uri="{9D8B030D-6E8A-4147-A177-3AD203B41FA5}">
                      <a16:colId xmlns:a16="http://schemas.microsoft.com/office/drawing/2014/main" val="1540212200"/>
                    </a:ext>
                  </a:extLst>
                </a:gridCol>
                <a:gridCol w="1298506">
                  <a:extLst>
                    <a:ext uri="{9D8B030D-6E8A-4147-A177-3AD203B41FA5}">
                      <a16:colId xmlns:a16="http://schemas.microsoft.com/office/drawing/2014/main" val="2375186204"/>
                    </a:ext>
                  </a:extLst>
                </a:gridCol>
              </a:tblGrid>
              <a:tr h="501650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N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51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 Na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51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IPv6 Capabl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51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IPv6 Preferre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51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Users (est.)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51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57639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126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WINDT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30.90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30.3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8.263.88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2821442"/>
                  </a:ext>
                </a:extLst>
              </a:tr>
              <a:tr h="200742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3072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VODAFONE ITALI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4.4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4.3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7.880.75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719975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326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TI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0,1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0,0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6.655.84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160720"/>
                  </a:ext>
                </a:extLst>
              </a:tr>
              <a:tr h="175137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2944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ILIAD ITALI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10.0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9.97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3.794.95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2126661"/>
                  </a:ext>
                </a:extLst>
              </a:tr>
              <a:tr h="234131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1287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FASTWEB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40.7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40.35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3.472.97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071028"/>
                  </a:ext>
                </a:extLst>
              </a:tr>
              <a:tr h="228190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21027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SKY ITALI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89.2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88.7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978.451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03770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86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TISCAL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0.0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0.0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688.78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59817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3561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NG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0.19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0.0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750.729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3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00699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AS19847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LINKEM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0.1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0.04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Sky Text" panose="020B0506040202020204" pitchFamily="34" charset="0"/>
                        </a:rPr>
                        <a:t>418.95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EEEE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9164032"/>
                  </a:ext>
                </a:extLst>
              </a:tr>
            </a:tbl>
          </a:graphicData>
        </a:graphic>
      </p:graphicFrame>
      <p:sp>
        <p:nvSpPr>
          <p:cNvPr id="3" name="TextBox 11">
            <a:extLst>
              <a:ext uri="{FF2B5EF4-FFF2-40B4-BE49-F238E27FC236}">
                <a16:creationId xmlns:a16="http://schemas.microsoft.com/office/drawing/2014/main" id="{43FBE1B3-FDE5-2C59-E2FA-3E26E10159D4}"/>
              </a:ext>
            </a:extLst>
          </p:cNvPr>
          <p:cNvSpPr txBox="1"/>
          <p:nvPr/>
        </p:nvSpPr>
        <p:spPr>
          <a:xfrm>
            <a:off x="435769" y="5824740"/>
            <a:ext cx="105373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+mj-lt"/>
              </a:rPr>
              <a:t>Source: APNIC – IPv6 deployment</a:t>
            </a:r>
          </a:p>
        </p:txBody>
      </p:sp>
    </p:spTree>
    <p:extLst>
      <p:ext uri="{BB962C8B-B14F-4D97-AF65-F5344CB8AC3E}">
        <p14:creationId xmlns:p14="http://schemas.microsoft.com/office/powerpoint/2010/main" val="1196356661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09059E-0E6D-7EB8-186D-2B1835692C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4">
            <a:extLst>
              <a:ext uri="{FF2B5EF4-FFF2-40B4-BE49-F238E27FC236}">
                <a16:creationId xmlns:a16="http://schemas.microsoft.com/office/drawing/2014/main" id="{1F3BCC22-4608-1FA9-C4B2-9F67CD89D5EA}"/>
              </a:ext>
            </a:extLst>
          </p:cNvPr>
          <p:cNvSpPr/>
          <p:nvPr/>
        </p:nvSpPr>
        <p:spPr>
          <a:xfrm>
            <a:off x="278906" y="890547"/>
            <a:ext cx="11218679" cy="5519778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endParaRPr lang="en-AU" sz="1200" dirty="0">
              <a:solidFill>
                <a:srgbClr val="333333"/>
              </a:solidFill>
              <a:latin typeface="Sky Text"/>
            </a:endParaRPr>
          </a:p>
        </p:txBody>
      </p:sp>
      <p:pic>
        <p:nvPicPr>
          <p:cNvPr id="8" name="Immagine 7" descr="Immagine che contiene cerchio, Elementi grafici, Policromia, design&#10;&#10;Descrizione generata automaticamente">
            <a:extLst>
              <a:ext uri="{FF2B5EF4-FFF2-40B4-BE49-F238E27FC236}">
                <a16:creationId xmlns:a16="http://schemas.microsoft.com/office/drawing/2014/main" id="{9B602F3E-7ADB-283A-E4B6-00889E21B1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88" y="2958005"/>
            <a:ext cx="3278017" cy="3291872"/>
          </a:xfrm>
          <a:prstGeom prst="rect">
            <a:avLst/>
          </a:prstGeom>
        </p:spPr>
      </p:pic>
      <p:sp>
        <p:nvSpPr>
          <p:cNvPr id="14" name="Rectangle 124">
            <a:extLst>
              <a:ext uri="{FF2B5EF4-FFF2-40B4-BE49-F238E27FC236}">
                <a16:creationId xmlns:a16="http://schemas.microsoft.com/office/drawing/2014/main" id="{B7E4A96B-C651-A8BF-0B2E-0AFC8FA84DE4}"/>
              </a:ext>
            </a:extLst>
          </p:cNvPr>
          <p:cNvSpPr/>
          <p:nvPr/>
        </p:nvSpPr>
        <p:spPr>
          <a:xfrm>
            <a:off x="4635610" y="3514101"/>
            <a:ext cx="6623437" cy="2744551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endParaRPr lang="en-AU" sz="12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23" name="TextBox 11">
            <a:extLst>
              <a:ext uri="{FF2B5EF4-FFF2-40B4-BE49-F238E27FC236}">
                <a16:creationId xmlns:a16="http://schemas.microsoft.com/office/drawing/2014/main" id="{F14E1BE1-B2F6-5C4A-7CC1-666467EFE7DA}"/>
              </a:ext>
            </a:extLst>
          </p:cNvPr>
          <p:cNvSpPr txBox="1"/>
          <p:nvPr/>
        </p:nvSpPr>
        <p:spPr>
          <a:xfrm>
            <a:off x="4728074" y="3888123"/>
            <a:ext cx="6438507" cy="2130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arenR"/>
            </a:pPr>
            <a:r>
              <a:rPr lang="en-US" sz="2208" dirty="0">
                <a:latin typeface="+mj-lt"/>
              </a:rPr>
              <a:t>By providing IPv6 to all customers we are seeing the following usage of IPv6:</a:t>
            </a:r>
          </a:p>
          <a:p>
            <a:r>
              <a:rPr lang="it-IT" sz="2208" dirty="0">
                <a:latin typeface="+mj-lt"/>
              </a:rPr>
              <a:t>	IPv6: 35% (    ˜3% vs 2023)	IPv4: 65%</a:t>
            </a:r>
            <a:endParaRPr lang="en-US" sz="2208" dirty="0">
              <a:latin typeface="+mj-lt"/>
            </a:endParaRPr>
          </a:p>
          <a:p>
            <a:endParaRPr lang="it-IT" sz="2208" dirty="0">
              <a:latin typeface="+mj-lt"/>
            </a:endParaRPr>
          </a:p>
          <a:p>
            <a:r>
              <a:rPr lang="it-IT" sz="2208" dirty="0">
                <a:latin typeface="+mj-lt"/>
              </a:rPr>
              <a:t>2) </a:t>
            </a:r>
            <a:r>
              <a:rPr lang="en-US" sz="2208" dirty="0">
                <a:latin typeface="+mj-lt"/>
              </a:rPr>
              <a:t>Despite all of subscribers are IPv6-only,</a:t>
            </a:r>
          </a:p>
          <a:p>
            <a:r>
              <a:rPr lang="en-US" sz="2208" dirty="0">
                <a:latin typeface="+mj-lt"/>
              </a:rPr>
              <a:t>there is still a good portion of volumes in IPv4.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C98ACAF5-33C1-973F-A958-565153593BEF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IPv4 vs IPv6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886064B6-1EE3-302E-91AD-C82543D96C84}"/>
              </a:ext>
            </a:extLst>
          </p:cNvPr>
          <p:cNvSpPr txBox="1">
            <a:spLocks/>
          </p:cNvSpPr>
          <p:nvPr/>
        </p:nvSpPr>
        <p:spPr>
          <a:xfrm>
            <a:off x="7275341" y="3345166"/>
            <a:ext cx="1272210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 err="1">
                <a:latin typeface="Sky Text"/>
              </a:rPr>
              <a:t>YtD</a:t>
            </a:r>
            <a:endParaRPr lang="en-US" sz="1920" b="1" dirty="0">
              <a:latin typeface="Sky Text"/>
            </a:endParaRPr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46C6AE7F-3676-485E-0E6B-CD2F04D1157E}"/>
              </a:ext>
            </a:extLst>
          </p:cNvPr>
          <p:cNvSpPr txBox="1"/>
          <p:nvPr/>
        </p:nvSpPr>
        <p:spPr>
          <a:xfrm>
            <a:off x="956402" y="3876327"/>
            <a:ext cx="693460" cy="432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208" dirty="0">
                <a:latin typeface="+mj-lt"/>
              </a:rPr>
              <a:t>IPv6</a:t>
            </a:r>
            <a:endParaRPr lang="en-US" sz="2208" dirty="0">
              <a:latin typeface="+mj-lt"/>
            </a:endParaRPr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51C92C15-6E32-8154-2C83-98DD0936B2B9}"/>
              </a:ext>
            </a:extLst>
          </p:cNvPr>
          <p:cNvSpPr txBox="1"/>
          <p:nvPr/>
        </p:nvSpPr>
        <p:spPr>
          <a:xfrm>
            <a:off x="3132275" y="4603941"/>
            <a:ext cx="690254" cy="432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208" dirty="0">
                <a:latin typeface="+mj-lt"/>
              </a:rPr>
              <a:t>IPv4</a:t>
            </a:r>
            <a:endParaRPr lang="en-US" sz="2208" dirty="0">
              <a:latin typeface="+mj-lt"/>
            </a:endParaRP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1651273B-10A1-BFD4-6600-FF0882CB3FAF}"/>
              </a:ext>
            </a:extLst>
          </p:cNvPr>
          <p:cNvSpPr txBox="1">
            <a:spLocks/>
          </p:cNvSpPr>
          <p:nvPr/>
        </p:nvSpPr>
        <p:spPr>
          <a:xfrm>
            <a:off x="4513478" y="657053"/>
            <a:ext cx="2121407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 err="1">
                <a:latin typeface="Sky Text"/>
              </a:rPr>
              <a:t>YtD</a:t>
            </a:r>
            <a:r>
              <a:rPr lang="en-US" sz="1920" b="1" dirty="0">
                <a:latin typeface="Sky Text"/>
              </a:rPr>
              <a:t> Volumes</a:t>
            </a:r>
          </a:p>
        </p:txBody>
      </p:sp>
      <p:sp>
        <p:nvSpPr>
          <p:cNvPr id="22" name="Freccia in su 21">
            <a:extLst>
              <a:ext uri="{FF2B5EF4-FFF2-40B4-BE49-F238E27FC236}">
                <a16:creationId xmlns:a16="http://schemas.microsoft.com/office/drawing/2014/main" id="{7953D733-62BB-43F0-842D-F56C82DB9F3A}"/>
              </a:ext>
            </a:extLst>
          </p:cNvPr>
          <p:cNvSpPr/>
          <p:nvPr/>
        </p:nvSpPr>
        <p:spPr>
          <a:xfrm>
            <a:off x="7275341" y="4641857"/>
            <a:ext cx="210349" cy="278226"/>
          </a:xfrm>
          <a:prstGeom prst="up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Immagine 3" descr="Immagine che contiene linea, Diagramma&#10;&#10;Descrizione generata automaticamente">
            <a:extLst>
              <a:ext uri="{FF2B5EF4-FFF2-40B4-BE49-F238E27FC236}">
                <a16:creationId xmlns:a16="http://schemas.microsoft.com/office/drawing/2014/main" id="{3C2E8AF8-623D-A7B8-09E3-3DCD0883F7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95" y="1114749"/>
            <a:ext cx="10726647" cy="1876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804027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24">
            <a:extLst>
              <a:ext uri="{FF2B5EF4-FFF2-40B4-BE49-F238E27FC236}">
                <a16:creationId xmlns:a16="http://schemas.microsoft.com/office/drawing/2014/main" id="{71470E87-2174-B7DC-D61A-BEA082D72030}"/>
              </a:ext>
            </a:extLst>
          </p:cNvPr>
          <p:cNvSpPr/>
          <p:nvPr/>
        </p:nvSpPr>
        <p:spPr>
          <a:xfrm>
            <a:off x="380460" y="1200712"/>
            <a:ext cx="10726301" cy="647115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4" name="Rectangle 124">
            <a:extLst>
              <a:ext uri="{FF2B5EF4-FFF2-40B4-BE49-F238E27FC236}">
                <a16:creationId xmlns:a16="http://schemas.microsoft.com/office/drawing/2014/main" id="{94B7D0F5-7E8B-8D8B-CD06-467C9FFD6284}"/>
              </a:ext>
            </a:extLst>
          </p:cNvPr>
          <p:cNvSpPr/>
          <p:nvPr/>
        </p:nvSpPr>
        <p:spPr>
          <a:xfrm>
            <a:off x="387927" y="2867510"/>
            <a:ext cx="10726301" cy="1008575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25" name="Rectangle 124">
            <a:extLst>
              <a:ext uri="{FF2B5EF4-FFF2-40B4-BE49-F238E27FC236}">
                <a16:creationId xmlns:a16="http://schemas.microsoft.com/office/drawing/2014/main" id="{0D862E31-155D-7414-F5E6-69E3E667DAFE}"/>
              </a:ext>
            </a:extLst>
          </p:cNvPr>
          <p:cNvSpPr/>
          <p:nvPr/>
        </p:nvSpPr>
        <p:spPr>
          <a:xfrm>
            <a:off x="398417" y="3904489"/>
            <a:ext cx="10726301" cy="1302204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19" name="Rectangle 124">
            <a:extLst>
              <a:ext uri="{FF2B5EF4-FFF2-40B4-BE49-F238E27FC236}">
                <a16:creationId xmlns:a16="http://schemas.microsoft.com/office/drawing/2014/main" id="{35C0ACF3-3301-4572-E32E-E7EA7AE8A489}"/>
              </a:ext>
            </a:extLst>
          </p:cNvPr>
          <p:cNvSpPr/>
          <p:nvPr/>
        </p:nvSpPr>
        <p:spPr>
          <a:xfrm>
            <a:off x="387926" y="1869699"/>
            <a:ext cx="10736791" cy="975940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graphicFrame>
        <p:nvGraphicFramePr>
          <p:cNvPr id="2" name="Grafico 1">
            <a:extLst>
              <a:ext uri="{FF2B5EF4-FFF2-40B4-BE49-F238E27FC236}">
                <a16:creationId xmlns:a16="http://schemas.microsoft.com/office/drawing/2014/main" id="{5BF352E7-8F94-078A-1BD2-1C425E4B7D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1417273"/>
              </p:ext>
            </p:extLst>
          </p:nvPr>
        </p:nvGraphicFramePr>
        <p:xfrm>
          <a:off x="3029471" y="1160206"/>
          <a:ext cx="7894167" cy="4548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C32FA63-804C-E62E-D0D9-94A80AA013A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IPv4 vs IPv6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2280381F-FBD0-6FF0-8A10-DA29B2C48A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748" y="1248508"/>
            <a:ext cx="592787" cy="59278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3FAD672C-A35A-111A-41EA-A9B8309674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7877" y="1918786"/>
            <a:ext cx="682399" cy="682399"/>
          </a:xfrm>
          <a:prstGeom prst="rect">
            <a:avLst/>
          </a:prstGeom>
        </p:spPr>
      </p:pic>
      <p:grpSp>
        <p:nvGrpSpPr>
          <p:cNvPr id="18" name="Gruppo 17">
            <a:extLst>
              <a:ext uri="{FF2B5EF4-FFF2-40B4-BE49-F238E27FC236}">
                <a16:creationId xmlns:a16="http://schemas.microsoft.com/office/drawing/2014/main" id="{621038FF-096C-1B34-D62C-EDBBF5356594}"/>
              </a:ext>
            </a:extLst>
          </p:cNvPr>
          <p:cNvGrpSpPr/>
          <p:nvPr/>
        </p:nvGrpSpPr>
        <p:grpSpPr>
          <a:xfrm>
            <a:off x="579920" y="3049347"/>
            <a:ext cx="681256" cy="661230"/>
            <a:chOff x="595028" y="3208806"/>
            <a:chExt cx="867227" cy="859105"/>
          </a:xfrm>
        </p:grpSpPr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11A55238-F54A-1B3B-53C5-D2724E8E2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05055" y="3610711"/>
              <a:ext cx="457200" cy="457200"/>
            </a:xfrm>
            <a:prstGeom prst="rect">
              <a:avLst/>
            </a:prstGeom>
          </p:spPr>
        </p:pic>
        <p:pic>
          <p:nvPicPr>
            <p:cNvPr id="13" name="Immagine 12">
              <a:extLst>
                <a:ext uri="{FF2B5EF4-FFF2-40B4-BE49-F238E27FC236}">
                  <a16:creationId xmlns:a16="http://schemas.microsoft.com/office/drawing/2014/main" id="{34169686-38F1-C2D2-AC09-F9CECBEEDA6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94839" y="3208806"/>
              <a:ext cx="457200" cy="457200"/>
            </a:xfrm>
            <a:prstGeom prst="rect">
              <a:avLst/>
            </a:prstGeom>
          </p:spPr>
        </p:pic>
        <p:pic>
          <p:nvPicPr>
            <p:cNvPr id="15" name="Immagine 14">
              <a:extLst>
                <a:ext uri="{FF2B5EF4-FFF2-40B4-BE49-F238E27FC236}">
                  <a16:creationId xmlns:a16="http://schemas.microsoft.com/office/drawing/2014/main" id="{884CDAED-C345-7126-715E-997A62D62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95028" y="3606294"/>
              <a:ext cx="457200" cy="457200"/>
            </a:xfrm>
            <a:prstGeom prst="rect">
              <a:avLst/>
            </a:prstGeom>
          </p:spPr>
        </p:pic>
      </p:grpSp>
      <p:pic>
        <p:nvPicPr>
          <p:cNvPr id="17" name="Immagine 16">
            <a:extLst>
              <a:ext uri="{FF2B5EF4-FFF2-40B4-BE49-F238E27FC236}">
                <a16:creationId xmlns:a16="http://schemas.microsoft.com/office/drawing/2014/main" id="{F4FB56CC-FA1B-497E-2E08-706E8C9F0E5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9920" y="4214887"/>
            <a:ext cx="618363" cy="618363"/>
          </a:xfrm>
          <a:prstGeom prst="rect">
            <a:avLst/>
          </a:prstGeom>
        </p:spPr>
      </p:pic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E0B3B25A-007F-73AA-C7A6-38C8F5D35A48}"/>
              </a:ext>
            </a:extLst>
          </p:cNvPr>
          <p:cNvSpPr txBox="1"/>
          <p:nvPr/>
        </p:nvSpPr>
        <p:spPr>
          <a:xfrm>
            <a:off x="1567667" y="1449292"/>
            <a:ext cx="176414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+mj-lt"/>
              </a:rPr>
              <a:t>CDN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F43D5133-C0F8-7DBF-0792-F0275B9A8CBB}"/>
              </a:ext>
            </a:extLst>
          </p:cNvPr>
          <p:cNvSpPr txBox="1"/>
          <p:nvPr/>
        </p:nvSpPr>
        <p:spPr>
          <a:xfrm>
            <a:off x="1280276" y="4353431"/>
            <a:ext cx="176414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+mj-lt"/>
              </a:rPr>
              <a:t>STREAMING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E6EFD51-594C-6A28-AF87-775262C86DEF}"/>
              </a:ext>
            </a:extLst>
          </p:cNvPr>
          <p:cNvSpPr txBox="1"/>
          <p:nvPr/>
        </p:nvSpPr>
        <p:spPr>
          <a:xfrm>
            <a:off x="1453169" y="3207447"/>
            <a:ext cx="176414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+mj-lt"/>
              </a:rPr>
              <a:t>SOCIAL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FC4DC4EE-75F8-D0A3-81D8-E3A712D1AC0F}"/>
              </a:ext>
            </a:extLst>
          </p:cNvPr>
          <p:cNvSpPr txBox="1"/>
          <p:nvPr/>
        </p:nvSpPr>
        <p:spPr>
          <a:xfrm>
            <a:off x="1418006" y="2144147"/>
            <a:ext cx="176414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+mj-lt"/>
              </a:rPr>
              <a:t>GAMING</a:t>
            </a:r>
          </a:p>
        </p:txBody>
      </p:sp>
    </p:spTree>
    <p:extLst>
      <p:ext uri="{BB962C8B-B14F-4D97-AF65-F5344CB8AC3E}">
        <p14:creationId xmlns:p14="http://schemas.microsoft.com/office/powerpoint/2010/main" val="117249203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Agenda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CF1FF1FE-B80B-ABC1-E0A9-2FF803D31E65}"/>
              </a:ext>
            </a:extLst>
          </p:cNvPr>
          <p:cNvSpPr txBox="1"/>
          <p:nvPr/>
        </p:nvSpPr>
        <p:spPr>
          <a:xfrm>
            <a:off x="378690" y="895359"/>
            <a:ext cx="11097197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rtl="0">
              <a:spcBef>
                <a:spcPts val="0"/>
              </a:spcBef>
              <a:spcAft>
                <a:spcPts val="0"/>
              </a:spcAft>
            </a:pPr>
            <a:r>
              <a:rPr lang="it-IT" sz="1800" b="1" dirty="0">
                <a:latin typeface="+mj-lt"/>
              </a:rPr>
              <a:t>Sky </a:t>
            </a:r>
            <a:r>
              <a:rPr lang="it-IT" sz="1800" b="1" dirty="0" err="1">
                <a:latin typeface="+mj-lt"/>
              </a:rPr>
              <a:t>Wifi</a:t>
            </a:r>
            <a:r>
              <a:rPr lang="it-IT" sz="1800" b="1" dirty="0">
                <a:latin typeface="+mj-lt"/>
              </a:rPr>
              <a:t> &amp; IPv6</a:t>
            </a:r>
          </a:p>
          <a:p>
            <a:pPr marL="0" marR="0" rtl="0">
              <a:spcBef>
                <a:spcPts val="0"/>
              </a:spcBef>
              <a:spcAft>
                <a:spcPts val="0"/>
              </a:spcAft>
            </a:pPr>
            <a:endParaRPr lang="it-IT" sz="1800" dirty="0">
              <a:effectLst/>
              <a:latin typeface="+mj-lt"/>
            </a:endParaRPr>
          </a:p>
          <a:p>
            <a:pPr marL="0" marR="0" rtl="0">
              <a:spcBef>
                <a:spcPts val="0"/>
              </a:spcBef>
              <a:spcAft>
                <a:spcPts val="0"/>
              </a:spcAft>
            </a:pPr>
            <a:endParaRPr lang="it-IT" sz="1800" dirty="0">
              <a:effectLst/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it-IT" sz="1800" i="0" dirty="0">
                <a:effectLst/>
                <a:latin typeface="+mj-lt"/>
              </a:rPr>
              <a:t> </a:t>
            </a:r>
            <a:r>
              <a:rPr lang="it-IT" sz="1800" b="1" i="0" dirty="0">
                <a:effectLst/>
                <a:latin typeface="+mj-lt"/>
              </a:rPr>
              <a:t>Sky </a:t>
            </a:r>
            <a:r>
              <a:rPr lang="it-IT" sz="1800" b="1" i="0" dirty="0" err="1">
                <a:effectLst/>
                <a:latin typeface="+mj-lt"/>
              </a:rPr>
              <a:t>Wifi</a:t>
            </a:r>
            <a:r>
              <a:rPr lang="it-IT" sz="1800" b="1" i="0" dirty="0">
                <a:effectLst/>
                <a:latin typeface="+mj-lt"/>
              </a:rPr>
              <a:t> Network: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it-IT" sz="1800" b="0" i="0" dirty="0">
                <a:effectLst/>
                <a:latin typeface="+mj-lt"/>
              </a:rPr>
              <a:t>Sky Broadband Network</a:t>
            </a:r>
          </a:p>
          <a:p>
            <a:pPr marL="457200" lvl="1" rtl="0" fontAlgn="ctr">
              <a:spcBef>
                <a:spcPts val="0"/>
              </a:spcBef>
              <a:spcAft>
                <a:spcPts val="0"/>
              </a:spcAft>
            </a:pPr>
            <a:endParaRPr lang="it-IT" sz="1800" b="0" i="0" dirty="0">
              <a:effectLst/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it-IT" sz="1800" b="0" i="0" dirty="0">
                <a:effectLst/>
                <a:latin typeface="+mj-lt"/>
              </a:rPr>
              <a:t> </a:t>
            </a:r>
            <a:r>
              <a:rPr lang="it-IT" sz="1800" b="1" i="0" dirty="0">
                <a:effectLst/>
                <a:latin typeface="+mj-lt"/>
              </a:rPr>
              <a:t>Network Architecture: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it-IT" sz="1800" b="0" i="0" dirty="0">
                <a:effectLst/>
                <a:latin typeface="+mj-lt"/>
              </a:rPr>
              <a:t>Optical Transmission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it-IT" sz="1800" b="0" i="0" dirty="0">
                <a:effectLst/>
                <a:latin typeface="+mj-lt"/>
              </a:rPr>
              <a:t>IP Core</a:t>
            </a:r>
          </a:p>
          <a:p>
            <a:pPr marL="742950" lvl="1" indent="-285750" fontAlgn="ctr">
              <a:buFont typeface="+mj-lt"/>
              <a:buAutoNum type="alphaLcPeriod"/>
            </a:pPr>
            <a:r>
              <a:rPr lang="it-IT" sz="1800" b="0" i="0" dirty="0">
                <a:effectLst/>
                <a:latin typeface="+mj-lt"/>
              </a:rPr>
              <a:t>Accesso FTTH/C</a:t>
            </a:r>
            <a:endParaRPr lang="it-IT" sz="1800" dirty="0">
              <a:latin typeface="+mj-lt"/>
            </a:endParaRPr>
          </a:p>
          <a:p>
            <a:pPr marL="457200" lvl="1" rtl="0" fontAlgn="ctr">
              <a:spcBef>
                <a:spcPts val="0"/>
              </a:spcBef>
              <a:spcAft>
                <a:spcPts val="0"/>
              </a:spcAft>
            </a:pPr>
            <a:endParaRPr lang="it-IT" sz="1800" b="0" i="0" dirty="0">
              <a:effectLst/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it-IT" sz="1800" b="0" i="0" dirty="0">
                <a:effectLst/>
                <a:latin typeface="+mj-lt"/>
              </a:rPr>
              <a:t> </a:t>
            </a:r>
            <a:r>
              <a:rPr lang="it-IT" sz="1800" b="1" i="0" dirty="0">
                <a:effectLst/>
                <a:latin typeface="+mj-lt"/>
              </a:rPr>
              <a:t>Services: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it-IT" sz="1800" b="0" i="0" dirty="0">
                <a:effectLst/>
                <a:latin typeface="+mj-lt"/>
              </a:rPr>
              <a:t>SKY Content Service Provider and Internet Service Provider (OTT, CDN, </a:t>
            </a:r>
            <a:r>
              <a:rPr lang="it-IT" sz="1800" b="0" i="0" dirty="0" err="1">
                <a:effectLst/>
                <a:latin typeface="+mj-lt"/>
              </a:rPr>
              <a:t>Peering</a:t>
            </a:r>
            <a:r>
              <a:rPr lang="it-IT" sz="1800" b="0" i="0" dirty="0">
                <a:effectLst/>
                <a:latin typeface="+mj-lt"/>
              </a:rPr>
              <a:t>)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it-IT" sz="1800" b="0" i="0" dirty="0">
                <a:effectLst/>
                <a:latin typeface="+mj-lt"/>
              </a:rPr>
              <a:t>Broadband &amp; IPv6</a:t>
            </a:r>
          </a:p>
          <a:p>
            <a:pPr marL="1143000" lvl="2" indent="-228600" rtl="0" fontAlgn="ctr"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it-IT" sz="1800" b="0" i="0" dirty="0">
                <a:effectLst/>
                <a:latin typeface="+mj-lt"/>
              </a:rPr>
              <a:t>MAP-T</a:t>
            </a:r>
          </a:p>
          <a:p>
            <a:pPr marL="1600200" lvl="3" indent="-228600"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it-IT" sz="1800" b="0" i="0" dirty="0">
                <a:effectLst/>
                <a:latin typeface="+mj-lt"/>
              </a:rPr>
              <a:t>MAP-T in Sky</a:t>
            </a:r>
          </a:p>
          <a:p>
            <a:pPr marL="1600200" lvl="3" indent="-228600" rtl="0" fontAlgn="ctr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it-IT" sz="1800" dirty="0">
                <a:latin typeface="+mj-lt"/>
              </a:rPr>
              <a:t>Sky IPv6 Experience</a:t>
            </a:r>
            <a:endParaRPr lang="it-IT" sz="1800" b="0" i="0" dirty="0"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6434198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9CFFC80-FF3E-30B5-A34F-61BEFFE4D0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3F4B47A-C879-A63E-E0B5-EB2D3EA5CDC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6" name="Immagine 5" descr="Immagine che contiene cartone animato, arma, giocattolo, Personaggio immaginario&#10;&#10;Descrizione generata automaticamente">
            <a:extLst>
              <a:ext uri="{FF2B5EF4-FFF2-40B4-BE49-F238E27FC236}">
                <a16:creationId xmlns:a16="http://schemas.microsoft.com/office/drawing/2014/main" id="{BDD9DAD5-D86B-5AF8-E4E1-D109EF735D6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50982"/>
            <a:ext cx="11704196" cy="7315200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A77AD426-C2E1-D1D9-8592-A0C05E851895}"/>
              </a:ext>
            </a:extLst>
          </p:cNvPr>
          <p:cNvSpPr txBox="1"/>
          <p:nvPr/>
        </p:nvSpPr>
        <p:spPr>
          <a:xfrm>
            <a:off x="110837" y="5783144"/>
            <a:ext cx="346363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Simone Carturan</a:t>
            </a:r>
          </a:p>
          <a:p>
            <a:r>
              <a:rPr lang="it-IT" sz="14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(Network Architect)</a:t>
            </a:r>
          </a:p>
          <a:p>
            <a:r>
              <a:rPr lang="it-IT" sz="14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simone.carturan@skytv.it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E168AA8-AC1B-49EA-BE65-448E878FCF16}"/>
              </a:ext>
            </a:extLst>
          </p:cNvPr>
          <p:cNvSpPr txBox="1"/>
          <p:nvPr/>
        </p:nvSpPr>
        <p:spPr>
          <a:xfrm>
            <a:off x="3969832" y="4542826"/>
            <a:ext cx="34636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6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THANK YOU</a:t>
            </a:r>
            <a:endParaRPr lang="it-IT" sz="32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3385119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3" name="Rectangle 124">
            <a:extLst>
              <a:ext uri="{FF2B5EF4-FFF2-40B4-BE49-F238E27FC236}">
                <a16:creationId xmlns:a16="http://schemas.microsoft.com/office/drawing/2014/main" id="{F2A2C182-72B0-AFD3-76C1-53E910C02147}"/>
              </a:ext>
            </a:extLst>
          </p:cNvPr>
          <p:cNvSpPr/>
          <p:nvPr/>
        </p:nvSpPr>
        <p:spPr>
          <a:xfrm>
            <a:off x="278905" y="995685"/>
            <a:ext cx="11221795" cy="5480529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endParaRPr lang="en-AU" sz="1536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endParaRPr lang="en-AU" sz="2799" dirty="0"/>
          </a:p>
        </p:txBody>
      </p:sp>
      <p:sp>
        <p:nvSpPr>
          <p:cNvPr id="13" name="Freccia in su 12">
            <a:extLst>
              <a:ext uri="{FF2B5EF4-FFF2-40B4-BE49-F238E27FC236}">
                <a16:creationId xmlns:a16="http://schemas.microsoft.com/office/drawing/2014/main" id="{4341BF3F-C3F9-B53D-FD8D-DB139A339FB3}"/>
              </a:ext>
            </a:extLst>
          </p:cNvPr>
          <p:cNvSpPr/>
          <p:nvPr/>
        </p:nvSpPr>
        <p:spPr>
          <a:xfrm>
            <a:off x="1238053" y="4853018"/>
            <a:ext cx="480768" cy="397545"/>
          </a:xfrm>
          <a:prstGeom prst="upArrow">
            <a:avLst>
              <a:gd name="adj1" fmla="val 62950"/>
              <a:gd name="adj2" fmla="val 57029"/>
            </a:avLst>
          </a:prstGeom>
          <a:solidFill>
            <a:srgbClr val="0077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Freccia in su 13">
            <a:extLst>
              <a:ext uri="{FF2B5EF4-FFF2-40B4-BE49-F238E27FC236}">
                <a16:creationId xmlns:a16="http://schemas.microsoft.com/office/drawing/2014/main" id="{9D6ADBED-FC0A-F7C3-6D0A-D22755CB962B}"/>
              </a:ext>
            </a:extLst>
          </p:cNvPr>
          <p:cNvSpPr/>
          <p:nvPr/>
        </p:nvSpPr>
        <p:spPr>
          <a:xfrm>
            <a:off x="1566421" y="5111445"/>
            <a:ext cx="480768" cy="397545"/>
          </a:xfrm>
          <a:prstGeom prst="upArrow">
            <a:avLst>
              <a:gd name="adj1" fmla="val 62950"/>
              <a:gd name="adj2" fmla="val 57029"/>
            </a:avLst>
          </a:prstGeom>
          <a:solidFill>
            <a:srgbClr val="0077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Freccia in su 14">
            <a:extLst>
              <a:ext uri="{FF2B5EF4-FFF2-40B4-BE49-F238E27FC236}">
                <a16:creationId xmlns:a16="http://schemas.microsoft.com/office/drawing/2014/main" id="{42DCA9A1-4848-9BDC-5632-C0133205E065}"/>
              </a:ext>
            </a:extLst>
          </p:cNvPr>
          <p:cNvSpPr/>
          <p:nvPr/>
        </p:nvSpPr>
        <p:spPr>
          <a:xfrm>
            <a:off x="1566421" y="3663646"/>
            <a:ext cx="480768" cy="397545"/>
          </a:xfrm>
          <a:prstGeom prst="upArrow">
            <a:avLst>
              <a:gd name="adj1" fmla="val 62950"/>
              <a:gd name="adj2" fmla="val 57029"/>
            </a:avLst>
          </a:prstGeom>
          <a:solidFill>
            <a:srgbClr val="0077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Freccia in su 15">
            <a:extLst>
              <a:ext uri="{FF2B5EF4-FFF2-40B4-BE49-F238E27FC236}">
                <a16:creationId xmlns:a16="http://schemas.microsoft.com/office/drawing/2014/main" id="{EB64A91F-110B-9C51-F475-22D7D9417B19}"/>
              </a:ext>
            </a:extLst>
          </p:cNvPr>
          <p:cNvSpPr/>
          <p:nvPr/>
        </p:nvSpPr>
        <p:spPr>
          <a:xfrm>
            <a:off x="1238053" y="3938618"/>
            <a:ext cx="480768" cy="397545"/>
          </a:xfrm>
          <a:prstGeom prst="upArrow">
            <a:avLst>
              <a:gd name="adj1" fmla="val 62950"/>
              <a:gd name="adj2" fmla="val 57029"/>
            </a:avLst>
          </a:prstGeom>
          <a:solidFill>
            <a:srgbClr val="0077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Freccia in su 18">
            <a:extLst>
              <a:ext uri="{FF2B5EF4-FFF2-40B4-BE49-F238E27FC236}">
                <a16:creationId xmlns:a16="http://schemas.microsoft.com/office/drawing/2014/main" id="{D15CCD42-A524-BD8C-591D-AFE1DF72A1C3}"/>
              </a:ext>
            </a:extLst>
          </p:cNvPr>
          <p:cNvSpPr/>
          <p:nvPr/>
        </p:nvSpPr>
        <p:spPr>
          <a:xfrm>
            <a:off x="1085653" y="4395818"/>
            <a:ext cx="480768" cy="397545"/>
          </a:xfrm>
          <a:prstGeom prst="upArrow">
            <a:avLst>
              <a:gd name="adj1" fmla="val 62950"/>
              <a:gd name="adj2" fmla="val 57029"/>
            </a:avLst>
          </a:prstGeom>
          <a:solidFill>
            <a:srgbClr val="0077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Ovale 21">
            <a:extLst>
              <a:ext uri="{FF2B5EF4-FFF2-40B4-BE49-F238E27FC236}">
                <a16:creationId xmlns:a16="http://schemas.microsoft.com/office/drawing/2014/main" id="{4F656A79-4AD7-FFB4-92F7-51889524BD72}"/>
              </a:ext>
            </a:extLst>
          </p:cNvPr>
          <p:cNvSpPr/>
          <p:nvPr/>
        </p:nvSpPr>
        <p:spPr>
          <a:xfrm>
            <a:off x="3703163" y="3110677"/>
            <a:ext cx="360000" cy="360000"/>
          </a:xfrm>
          <a:prstGeom prst="ellipse">
            <a:avLst/>
          </a:prstGeom>
          <a:solidFill>
            <a:srgbClr val="FFC40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Ovale 25">
            <a:extLst>
              <a:ext uri="{FF2B5EF4-FFF2-40B4-BE49-F238E27FC236}">
                <a16:creationId xmlns:a16="http://schemas.microsoft.com/office/drawing/2014/main" id="{2DCACEA8-1861-1BFE-455C-4D95EFDA8635}"/>
              </a:ext>
            </a:extLst>
          </p:cNvPr>
          <p:cNvSpPr/>
          <p:nvPr/>
        </p:nvSpPr>
        <p:spPr>
          <a:xfrm>
            <a:off x="3703163" y="3616582"/>
            <a:ext cx="360000" cy="360000"/>
          </a:xfrm>
          <a:prstGeom prst="ellipse">
            <a:avLst/>
          </a:prstGeom>
          <a:solidFill>
            <a:srgbClr val="FFC40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Ovale 26">
            <a:extLst>
              <a:ext uri="{FF2B5EF4-FFF2-40B4-BE49-F238E27FC236}">
                <a16:creationId xmlns:a16="http://schemas.microsoft.com/office/drawing/2014/main" id="{2C8D0DD8-2501-FCAC-2623-CF2F568D0102}"/>
              </a:ext>
            </a:extLst>
          </p:cNvPr>
          <p:cNvSpPr/>
          <p:nvPr/>
        </p:nvSpPr>
        <p:spPr>
          <a:xfrm>
            <a:off x="3703163" y="4395866"/>
            <a:ext cx="360000" cy="360000"/>
          </a:xfrm>
          <a:prstGeom prst="ellipse">
            <a:avLst/>
          </a:prstGeom>
          <a:solidFill>
            <a:srgbClr val="FFC40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8" name="Ovale 27">
            <a:extLst>
              <a:ext uri="{FF2B5EF4-FFF2-40B4-BE49-F238E27FC236}">
                <a16:creationId xmlns:a16="http://schemas.microsoft.com/office/drawing/2014/main" id="{EB94F7A8-90C9-51FF-8DA9-D9228CC4A9D5}"/>
              </a:ext>
            </a:extLst>
          </p:cNvPr>
          <p:cNvSpPr/>
          <p:nvPr/>
        </p:nvSpPr>
        <p:spPr>
          <a:xfrm>
            <a:off x="3703163" y="4901771"/>
            <a:ext cx="360000" cy="360000"/>
          </a:xfrm>
          <a:prstGeom prst="ellipse">
            <a:avLst/>
          </a:prstGeom>
          <a:solidFill>
            <a:srgbClr val="FFC40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Ovale 28">
            <a:extLst>
              <a:ext uri="{FF2B5EF4-FFF2-40B4-BE49-F238E27FC236}">
                <a16:creationId xmlns:a16="http://schemas.microsoft.com/office/drawing/2014/main" id="{91DB7D39-D48A-D82F-EF23-83515D5A1E7D}"/>
              </a:ext>
            </a:extLst>
          </p:cNvPr>
          <p:cNvSpPr/>
          <p:nvPr/>
        </p:nvSpPr>
        <p:spPr>
          <a:xfrm>
            <a:off x="3703163" y="5407677"/>
            <a:ext cx="360000" cy="360000"/>
          </a:xfrm>
          <a:prstGeom prst="ellipse">
            <a:avLst/>
          </a:prstGeom>
          <a:solidFill>
            <a:srgbClr val="FFC40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1" name="Ovale 30">
            <a:extLst>
              <a:ext uri="{FF2B5EF4-FFF2-40B4-BE49-F238E27FC236}">
                <a16:creationId xmlns:a16="http://schemas.microsoft.com/office/drawing/2014/main" id="{30E87439-4F72-E46F-E9FD-B06E78ABF19A}"/>
              </a:ext>
            </a:extLst>
          </p:cNvPr>
          <p:cNvSpPr/>
          <p:nvPr/>
        </p:nvSpPr>
        <p:spPr>
          <a:xfrm>
            <a:off x="5182122" y="4133822"/>
            <a:ext cx="360000" cy="360000"/>
          </a:xfrm>
          <a:prstGeom prst="ellipse">
            <a:avLst/>
          </a:prstGeom>
          <a:solidFill>
            <a:srgbClr val="D848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2" name="Ovale 31">
            <a:extLst>
              <a:ext uri="{FF2B5EF4-FFF2-40B4-BE49-F238E27FC236}">
                <a16:creationId xmlns:a16="http://schemas.microsoft.com/office/drawing/2014/main" id="{602382DC-76D3-C55B-47C6-42B727B7E576}"/>
              </a:ext>
            </a:extLst>
          </p:cNvPr>
          <p:cNvSpPr/>
          <p:nvPr/>
        </p:nvSpPr>
        <p:spPr>
          <a:xfrm>
            <a:off x="5182122" y="5336970"/>
            <a:ext cx="360000" cy="360000"/>
          </a:xfrm>
          <a:prstGeom prst="ellipse">
            <a:avLst/>
          </a:prstGeom>
          <a:solidFill>
            <a:srgbClr val="D848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Ovale 34">
            <a:extLst>
              <a:ext uri="{FF2B5EF4-FFF2-40B4-BE49-F238E27FC236}">
                <a16:creationId xmlns:a16="http://schemas.microsoft.com/office/drawing/2014/main" id="{5B34B2F3-86B6-0313-909E-9A2E880F1228}"/>
              </a:ext>
            </a:extLst>
          </p:cNvPr>
          <p:cNvSpPr/>
          <p:nvPr/>
        </p:nvSpPr>
        <p:spPr>
          <a:xfrm>
            <a:off x="7833935" y="3534014"/>
            <a:ext cx="360000" cy="360000"/>
          </a:xfrm>
          <a:prstGeom prst="ellipse">
            <a:avLst/>
          </a:prstGeom>
          <a:solidFill>
            <a:srgbClr val="021E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6" name="Ovale 35">
            <a:extLst>
              <a:ext uri="{FF2B5EF4-FFF2-40B4-BE49-F238E27FC236}">
                <a16:creationId xmlns:a16="http://schemas.microsoft.com/office/drawing/2014/main" id="{003391C0-E8EC-EE6A-ED2C-790E5CC485B1}"/>
              </a:ext>
            </a:extLst>
          </p:cNvPr>
          <p:cNvSpPr/>
          <p:nvPr/>
        </p:nvSpPr>
        <p:spPr>
          <a:xfrm>
            <a:off x="7839435" y="5047677"/>
            <a:ext cx="360000" cy="360000"/>
          </a:xfrm>
          <a:prstGeom prst="ellipse">
            <a:avLst/>
          </a:prstGeom>
          <a:solidFill>
            <a:srgbClr val="021E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7" name="Ovale 36">
            <a:extLst>
              <a:ext uri="{FF2B5EF4-FFF2-40B4-BE49-F238E27FC236}">
                <a16:creationId xmlns:a16="http://schemas.microsoft.com/office/drawing/2014/main" id="{64FEFC68-F6A6-38A3-DF34-597FC1F4366C}"/>
              </a:ext>
            </a:extLst>
          </p:cNvPr>
          <p:cNvSpPr/>
          <p:nvPr/>
        </p:nvSpPr>
        <p:spPr>
          <a:xfrm>
            <a:off x="8847420" y="3534014"/>
            <a:ext cx="360000" cy="360000"/>
          </a:xfrm>
          <a:prstGeom prst="ellipse">
            <a:avLst/>
          </a:prstGeom>
          <a:solidFill>
            <a:srgbClr val="021E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8" name="Ovale 37">
            <a:extLst>
              <a:ext uri="{FF2B5EF4-FFF2-40B4-BE49-F238E27FC236}">
                <a16:creationId xmlns:a16="http://schemas.microsoft.com/office/drawing/2014/main" id="{AE98749A-D83F-BC97-F033-497CD94977AD}"/>
              </a:ext>
            </a:extLst>
          </p:cNvPr>
          <p:cNvSpPr/>
          <p:nvPr/>
        </p:nvSpPr>
        <p:spPr>
          <a:xfrm>
            <a:off x="8858891" y="5047677"/>
            <a:ext cx="360000" cy="360000"/>
          </a:xfrm>
          <a:prstGeom prst="ellipse">
            <a:avLst/>
          </a:prstGeom>
          <a:solidFill>
            <a:srgbClr val="021E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1" name="Ovale 40">
            <a:extLst>
              <a:ext uri="{FF2B5EF4-FFF2-40B4-BE49-F238E27FC236}">
                <a16:creationId xmlns:a16="http://schemas.microsoft.com/office/drawing/2014/main" id="{711448C1-8D06-7EF0-F771-456B5635A3AA}"/>
              </a:ext>
            </a:extLst>
          </p:cNvPr>
          <p:cNvSpPr/>
          <p:nvPr/>
        </p:nvSpPr>
        <p:spPr>
          <a:xfrm>
            <a:off x="9807806" y="3535775"/>
            <a:ext cx="360000" cy="360000"/>
          </a:xfrm>
          <a:prstGeom prst="ellipse">
            <a:avLst/>
          </a:prstGeom>
          <a:solidFill>
            <a:srgbClr val="FE01A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3" name="Ovale 42">
            <a:extLst>
              <a:ext uri="{FF2B5EF4-FFF2-40B4-BE49-F238E27FC236}">
                <a16:creationId xmlns:a16="http://schemas.microsoft.com/office/drawing/2014/main" id="{46F003EC-D853-79F2-2C66-4C70380DA822}"/>
              </a:ext>
            </a:extLst>
          </p:cNvPr>
          <p:cNvSpPr/>
          <p:nvPr/>
        </p:nvSpPr>
        <p:spPr>
          <a:xfrm>
            <a:off x="9864368" y="5047677"/>
            <a:ext cx="360000" cy="360000"/>
          </a:xfrm>
          <a:prstGeom prst="ellipse">
            <a:avLst/>
          </a:prstGeom>
          <a:solidFill>
            <a:srgbClr val="FE01A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4" name="Nuvola 43">
            <a:extLst>
              <a:ext uri="{FF2B5EF4-FFF2-40B4-BE49-F238E27FC236}">
                <a16:creationId xmlns:a16="http://schemas.microsoft.com/office/drawing/2014/main" id="{801715FC-4979-9110-DC58-FB31BA569456}"/>
              </a:ext>
            </a:extLst>
          </p:cNvPr>
          <p:cNvSpPr/>
          <p:nvPr/>
        </p:nvSpPr>
        <p:spPr>
          <a:xfrm>
            <a:off x="9857548" y="3730084"/>
            <a:ext cx="1480936" cy="1453855"/>
          </a:xfrm>
          <a:prstGeom prst="cloud">
            <a:avLst/>
          </a:prstGeom>
          <a:solidFill>
            <a:schemeClr val="bg1"/>
          </a:solidFill>
          <a:ln w="15875">
            <a:solidFill>
              <a:srgbClr val="02ADE4">
                <a:alpha val="99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  <a:latin typeface="+mj-lt"/>
              </a:rPr>
              <a:t>Internet</a:t>
            </a:r>
          </a:p>
        </p:txBody>
      </p:sp>
      <p:sp>
        <p:nvSpPr>
          <p:cNvPr id="45" name="Rettangolo con angoli arrotondati 44">
            <a:extLst>
              <a:ext uri="{FF2B5EF4-FFF2-40B4-BE49-F238E27FC236}">
                <a16:creationId xmlns:a16="http://schemas.microsoft.com/office/drawing/2014/main" id="{D1B56FA4-E5C1-FEA0-B128-129031CC9AAF}"/>
              </a:ext>
            </a:extLst>
          </p:cNvPr>
          <p:cNvSpPr/>
          <p:nvPr/>
        </p:nvSpPr>
        <p:spPr>
          <a:xfrm>
            <a:off x="548324" y="5986018"/>
            <a:ext cx="3250678" cy="397545"/>
          </a:xfrm>
          <a:prstGeom prst="roundRect">
            <a:avLst/>
          </a:prstGeom>
          <a:solidFill>
            <a:srgbClr val="D5E6DE"/>
          </a:solidFill>
          <a:ln>
            <a:solidFill>
              <a:srgbClr val="00774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>
                <a:solidFill>
                  <a:schemeClr val="tx1"/>
                </a:solidFill>
                <a:latin typeface="+mj-lt"/>
              </a:rPr>
              <a:t>Access Network</a:t>
            </a:r>
          </a:p>
        </p:txBody>
      </p:sp>
      <p:sp>
        <p:nvSpPr>
          <p:cNvPr id="46" name="Rettangolo con angoli arrotondati 45">
            <a:extLst>
              <a:ext uri="{FF2B5EF4-FFF2-40B4-BE49-F238E27FC236}">
                <a16:creationId xmlns:a16="http://schemas.microsoft.com/office/drawing/2014/main" id="{1E8DA552-C19B-F0FE-47BC-601BC26A4E7A}"/>
              </a:ext>
            </a:extLst>
          </p:cNvPr>
          <p:cNvSpPr/>
          <p:nvPr/>
        </p:nvSpPr>
        <p:spPr>
          <a:xfrm>
            <a:off x="3978111" y="5986018"/>
            <a:ext cx="2677213" cy="397545"/>
          </a:xfrm>
          <a:prstGeom prst="roundRect">
            <a:avLst/>
          </a:prstGeom>
          <a:solidFill>
            <a:srgbClr val="F8DED5"/>
          </a:solidFill>
          <a:ln>
            <a:solidFill>
              <a:srgbClr val="D848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>
                <a:solidFill>
                  <a:schemeClr val="tx1"/>
                </a:solidFill>
                <a:latin typeface="+mj-lt"/>
              </a:rPr>
              <a:t>Metro Network</a:t>
            </a:r>
          </a:p>
        </p:txBody>
      </p:sp>
      <p:sp>
        <p:nvSpPr>
          <p:cNvPr id="47" name="Rettangolo con angoli arrotondati 46">
            <a:extLst>
              <a:ext uri="{FF2B5EF4-FFF2-40B4-BE49-F238E27FC236}">
                <a16:creationId xmlns:a16="http://schemas.microsoft.com/office/drawing/2014/main" id="{D5A250E8-9DDA-61B7-F792-9A2872A94C9F}"/>
              </a:ext>
            </a:extLst>
          </p:cNvPr>
          <p:cNvSpPr/>
          <p:nvPr/>
        </p:nvSpPr>
        <p:spPr>
          <a:xfrm>
            <a:off x="6834433" y="5986017"/>
            <a:ext cx="2196445" cy="397545"/>
          </a:xfrm>
          <a:prstGeom prst="roundRect">
            <a:avLst/>
          </a:prstGeom>
          <a:solidFill>
            <a:srgbClr val="D5EFFA"/>
          </a:solidFill>
          <a:ln>
            <a:solidFill>
              <a:srgbClr val="021EA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>
                <a:solidFill>
                  <a:schemeClr val="tx1"/>
                </a:solidFill>
                <a:latin typeface="+mj-lt"/>
              </a:rPr>
              <a:t>Core Network</a:t>
            </a:r>
          </a:p>
        </p:txBody>
      </p:sp>
      <p:sp>
        <p:nvSpPr>
          <p:cNvPr id="48" name="Rettangolo con angoli arrotondati 47">
            <a:extLst>
              <a:ext uri="{FF2B5EF4-FFF2-40B4-BE49-F238E27FC236}">
                <a16:creationId xmlns:a16="http://schemas.microsoft.com/office/drawing/2014/main" id="{11BB0E8B-AE38-C05A-E742-29CEECA340CA}"/>
              </a:ext>
            </a:extLst>
          </p:cNvPr>
          <p:cNvSpPr/>
          <p:nvPr/>
        </p:nvSpPr>
        <p:spPr>
          <a:xfrm>
            <a:off x="9152901" y="5986017"/>
            <a:ext cx="1071468" cy="397545"/>
          </a:xfrm>
          <a:prstGeom prst="roundRect">
            <a:avLst/>
          </a:prstGeom>
          <a:solidFill>
            <a:srgbClr val="FFCCFF"/>
          </a:solidFill>
          <a:ln>
            <a:solidFill>
              <a:srgbClr val="FE01A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 err="1">
                <a:solidFill>
                  <a:schemeClr val="tx1"/>
                </a:solidFill>
                <a:latin typeface="+mj-lt"/>
              </a:rPr>
              <a:t>Peering</a:t>
            </a:r>
            <a:endParaRPr lang="it-IT" sz="16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50" name="Connettore diritto 49">
            <a:extLst>
              <a:ext uri="{FF2B5EF4-FFF2-40B4-BE49-F238E27FC236}">
                <a16:creationId xmlns:a16="http://schemas.microsoft.com/office/drawing/2014/main" id="{C3F84A02-D4AD-E3D3-CB06-371FD119B1BE}"/>
              </a:ext>
            </a:extLst>
          </p:cNvPr>
          <p:cNvCxnSpPr>
            <a:cxnSpLocks/>
          </p:cNvCxnSpPr>
          <p:nvPr/>
        </p:nvCxnSpPr>
        <p:spPr>
          <a:xfrm flipV="1">
            <a:off x="1834531" y="4755866"/>
            <a:ext cx="456182" cy="598600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ttore diritto 52">
            <a:extLst>
              <a:ext uri="{FF2B5EF4-FFF2-40B4-BE49-F238E27FC236}">
                <a16:creationId xmlns:a16="http://schemas.microsoft.com/office/drawing/2014/main" id="{B8D599C0-3D56-8BFB-54CD-3283B505B4DC}"/>
              </a:ext>
            </a:extLst>
          </p:cNvPr>
          <p:cNvCxnSpPr>
            <a:cxnSpLocks/>
          </p:cNvCxnSpPr>
          <p:nvPr/>
        </p:nvCxnSpPr>
        <p:spPr>
          <a:xfrm flipV="1">
            <a:off x="1500524" y="4687407"/>
            <a:ext cx="969299" cy="344824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ttore diritto 55">
            <a:extLst>
              <a:ext uri="{FF2B5EF4-FFF2-40B4-BE49-F238E27FC236}">
                <a16:creationId xmlns:a16="http://schemas.microsoft.com/office/drawing/2014/main" id="{3FE5C8A1-EF55-AED8-2847-CDEFD75976D9}"/>
              </a:ext>
            </a:extLst>
          </p:cNvPr>
          <p:cNvCxnSpPr>
            <a:cxnSpLocks/>
          </p:cNvCxnSpPr>
          <p:nvPr/>
        </p:nvCxnSpPr>
        <p:spPr>
          <a:xfrm>
            <a:off x="1371217" y="4619134"/>
            <a:ext cx="1098606" cy="0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ttore diritto 58">
            <a:extLst>
              <a:ext uri="{FF2B5EF4-FFF2-40B4-BE49-F238E27FC236}">
                <a16:creationId xmlns:a16="http://schemas.microsoft.com/office/drawing/2014/main" id="{03E1A6ED-6044-9DE1-C5C8-D7DFC4DA5D60}"/>
              </a:ext>
            </a:extLst>
          </p:cNvPr>
          <p:cNvCxnSpPr>
            <a:cxnSpLocks/>
          </p:cNvCxnSpPr>
          <p:nvPr/>
        </p:nvCxnSpPr>
        <p:spPr>
          <a:xfrm>
            <a:off x="1530261" y="4206420"/>
            <a:ext cx="900594" cy="287402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12" name="Connettore diritto 13311">
            <a:extLst>
              <a:ext uri="{FF2B5EF4-FFF2-40B4-BE49-F238E27FC236}">
                <a16:creationId xmlns:a16="http://schemas.microsoft.com/office/drawing/2014/main" id="{49131369-E7C0-0670-FD79-1FC2B53D6220}"/>
              </a:ext>
            </a:extLst>
          </p:cNvPr>
          <p:cNvCxnSpPr>
            <a:cxnSpLocks/>
          </p:cNvCxnSpPr>
          <p:nvPr/>
        </p:nvCxnSpPr>
        <p:spPr>
          <a:xfrm>
            <a:off x="1828446" y="3898201"/>
            <a:ext cx="515789" cy="544061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16" name="Connettore diritto 13315">
            <a:extLst>
              <a:ext uri="{FF2B5EF4-FFF2-40B4-BE49-F238E27FC236}">
                <a16:creationId xmlns:a16="http://schemas.microsoft.com/office/drawing/2014/main" id="{8C00A370-8A88-0A4F-125E-AEAA4D18E9D9}"/>
              </a:ext>
            </a:extLst>
          </p:cNvPr>
          <p:cNvCxnSpPr>
            <a:cxnSpLocks/>
            <a:endCxn id="22" idx="2"/>
          </p:cNvCxnSpPr>
          <p:nvPr/>
        </p:nvCxnSpPr>
        <p:spPr>
          <a:xfrm flipV="1">
            <a:off x="2476419" y="3290677"/>
            <a:ext cx="1226744" cy="1045486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19" name="Connettore diritto 13318">
            <a:extLst>
              <a:ext uri="{FF2B5EF4-FFF2-40B4-BE49-F238E27FC236}">
                <a16:creationId xmlns:a16="http://schemas.microsoft.com/office/drawing/2014/main" id="{B7646CE6-954C-C73F-D148-D83F9643E1E5}"/>
              </a:ext>
            </a:extLst>
          </p:cNvPr>
          <p:cNvCxnSpPr>
            <a:cxnSpLocks/>
            <a:stCxn id="26" idx="2"/>
          </p:cNvCxnSpPr>
          <p:nvPr/>
        </p:nvCxnSpPr>
        <p:spPr>
          <a:xfrm flipH="1">
            <a:off x="2359055" y="3796582"/>
            <a:ext cx="1344108" cy="539581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22" name="Connettore diritto 13321">
            <a:extLst>
              <a:ext uri="{FF2B5EF4-FFF2-40B4-BE49-F238E27FC236}">
                <a16:creationId xmlns:a16="http://schemas.microsoft.com/office/drawing/2014/main" id="{14FDE2F5-575F-5851-1F99-5B9E9062D04F}"/>
              </a:ext>
            </a:extLst>
          </p:cNvPr>
          <p:cNvCxnSpPr>
            <a:cxnSpLocks/>
            <a:stCxn id="27" idx="2"/>
          </p:cNvCxnSpPr>
          <p:nvPr/>
        </p:nvCxnSpPr>
        <p:spPr>
          <a:xfrm flipH="1" flipV="1">
            <a:off x="2608083" y="4442262"/>
            <a:ext cx="1095080" cy="133604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25" name="Connettore diritto 13324">
            <a:extLst>
              <a:ext uri="{FF2B5EF4-FFF2-40B4-BE49-F238E27FC236}">
                <a16:creationId xmlns:a16="http://schemas.microsoft.com/office/drawing/2014/main" id="{A456742B-C74E-A86A-981F-9FE887EAF0D3}"/>
              </a:ext>
            </a:extLst>
          </p:cNvPr>
          <p:cNvCxnSpPr>
            <a:cxnSpLocks/>
            <a:stCxn id="28" idx="2"/>
          </p:cNvCxnSpPr>
          <p:nvPr/>
        </p:nvCxnSpPr>
        <p:spPr>
          <a:xfrm flipH="1" flipV="1">
            <a:off x="2485747" y="4575866"/>
            <a:ext cx="1217416" cy="505905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29" name="Connettore diritto 13328">
            <a:extLst>
              <a:ext uri="{FF2B5EF4-FFF2-40B4-BE49-F238E27FC236}">
                <a16:creationId xmlns:a16="http://schemas.microsoft.com/office/drawing/2014/main" id="{84EB56A4-742A-CF2E-9F53-49D0709F44C0}"/>
              </a:ext>
            </a:extLst>
          </p:cNvPr>
          <p:cNvCxnSpPr>
            <a:cxnSpLocks/>
            <a:stCxn id="29" idx="2"/>
          </p:cNvCxnSpPr>
          <p:nvPr/>
        </p:nvCxnSpPr>
        <p:spPr>
          <a:xfrm flipH="1" flipV="1">
            <a:off x="2366341" y="4619134"/>
            <a:ext cx="1336822" cy="968543"/>
          </a:xfrm>
          <a:prstGeom prst="line">
            <a:avLst/>
          </a:pr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32" name="Figura a mano libera: forma 13331">
            <a:extLst>
              <a:ext uri="{FF2B5EF4-FFF2-40B4-BE49-F238E27FC236}">
                <a16:creationId xmlns:a16="http://schemas.microsoft.com/office/drawing/2014/main" id="{C5120912-9851-ECFD-AEB1-FA09F42CC47A}"/>
              </a:ext>
            </a:extLst>
          </p:cNvPr>
          <p:cNvSpPr/>
          <p:nvPr/>
        </p:nvSpPr>
        <p:spPr>
          <a:xfrm>
            <a:off x="2752627" y="3601039"/>
            <a:ext cx="2662216" cy="791852"/>
          </a:xfrm>
          <a:custGeom>
            <a:avLst/>
            <a:gdLst>
              <a:gd name="connsiteX0" fmla="*/ 0 w 2592371"/>
              <a:gd name="connsiteY0" fmla="*/ 791852 h 791852"/>
              <a:gd name="connsiteX1" fmla="*/ 2026763 w 2592371"/>
              <a:gd name="connsiteY1" fmla="*/ 424206 h 791852"/>
              <a:gd name="connsiteX2" fmla="*/ 2592371 w 2592371"/>
              <a:gd name="connsiteY2" fmla="*/ 0 h 791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2371" h="791852">
                <a:moveTo>
                  <a:pt x="0" y="791852"/>
                </a:moveTo>
                <a:cubicBezTo>
                  <a:pt x="797350" y="674016"/>
                  <a:pt x="1594701" y="556181"/>
                  <a:pt x="2026763" y="424206"/>
                </a:cubicBezTo>
                <a:cubicBezTo>
                  <a:pt x="2458825" y="292231"/>
                  <a:pt x="2525598" y="146115"/>
                  <a:pt x="2592371" y="0"/>
                </a:cubicBezTo>
              </a:path>
            </a:pathLst>
          </a:custGeom>
          <a:ln w="25400">
            <a:solidFill>
              <a:srgbClr val="0077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Nuvola 19">
            <a:extLst>
              <a:ext uri="{FF2B5EF4-FFF2-40B4-BE49-F238E27FC236}">
                <a16:creationId xmlns:a16="http://schemas.microsoft.com/office/drawing/2014/main" id="{D774DDFB-21C1-2E2E-E5AD-730B8D05BA18}"/>
              </a:ext>
            </a:extLst>
          </p:cNvPr>
          <p:cNvSpPr/>
          <p:nvPr/>
        </p:nvSpPr>
        <p:spPr>
          <a:xfrm>
            <a:off x="1987486" y="3938618"/>
            <a:ext cx="1385740" cy="1113173"/>
          </a:xfrm>
          <a:prstGeom prst="cloud">
            <a:avLst/>
          </a:prstGeom>
          <a:solidFill>
            <a:srgbClr val="0077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Ovale 29">
            <a:extLst>
              <a:ext uri="{FF2B5EF4-FFF2-40B4-BE49-F238E27FC236}">
                <a16:creationId xmlns:a16="http://schemas.microsoft.com/office/drawing/2014/main" id="{6816ACEB-52C0-0FDA-F9AC-C82030F24638}"/>
              </a:ext>
            </a:extLst>
          </p:cNvPr>
          <p:cNvSpPr/>
          <p:nvPr/>
        </p:nvSpPr>
        <p:spPr>
          <a:xfrm>
            <a:off x="5182122" y="3384056"/>
            <a:ext cx="360000" cy="360000"/>
          </a:xfrm>
          <a:prstGeom prst="ellipse">
            <a:avLst/>
          </a:prstGeom>
          <a:solidFill>
            <a:srgbClr val="D848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3333" name="Connettore diritto 13332">
            <a:extLst>
              <a:ext uri="{FF2B5EF4-FFF2-40B4-BE49-F238E27FC236}">
                <a16:creationId xmlns:a16="http://schemas.microsoft.com/office/drawing/2014/main" id="{CE6CCD50-3F4C-0C13-A219-1831E2C9D6A3}"/>
              </a:ext>
            </a:extLst>
          </p:cNvPr>
          <p:cNvCxnSpPr>
            <a:cxnSpLocks/>
            <a:stCxn id="33" idx="1"/>
            <a:endCxn id="22" idx="6"/>
          </p:cNvCxnSpPr>
          <p:nvPr/>
        </p:nvCxnSpPr>
        <p:spPr>
          <a:xfrm flipH="1" flipV="1">
            <a:off x="4063163" y="3290677"/>
            <a:ext cx="2564019" cy="535866"/>
          </a:xfrm>
          <a:prstGeom prst="line">
            <a:avLst/>
          </a:prstGeom>
          <a:ln w="25400">
            <a:solidFill>
              <a:srgbClr val="D84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36" name="Connettore diritto 13335">
            <a:extLst>
              <a:ext uri="{FF2B5EF4-FFF2-40B4-BE49-F238E27FC236}">
                <a16:creationId xmlns:a16="http://schemas.microsoft.com/office/drawing/2014/main" id="{DCBBCDA7-BCDF-0385-CA30-CD3F103D12F5}"/>
              </a:ext>
            </a:extLst>
          </p:cNvPr>
          <p:cNvCxnSpPr>
            <a:cxnSpLocks/>
            <a:endCxn id="26" idx="6"/>
          </p:cNvCxnSpPr>
          <p:nvPr/>
        </p:nvCxnSpPr>
        <p:spPr>
          <a:xfrm flipH="1">
            <a:off x="4063163" y="3616582"/>
            <a:ext cx="1336822" cy="180000"/>
          </a:xfrm>
          <a:prstGeom prst="line">
            <a:avLst/>
          </a:prstGeom>
          <a:ln w="25400">
            <a:solidFill>
              <a:srgbClr val="D84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39" name="Connettore diritto 13338">
            <a:extLst>
              <a:ext uri="{FF2B5EF4-FFF2-40B4-BE49-F238E27FC236}">
                <a16:creationId xmlns:a16="http://schemas.microsoft.com/office/drawing/2014/main" id="{4818C3B6-347C-D003-F9D7-C4289427AE9E}"/>
              </a:ext>
            </a:extLst>
          </p:cNvPr>
          <p:cNvCxnSpPr>
            <a:cxnSpLocks/>
            <a:stCxn id="33" idx="2"/>
          </p:cNvCxnSpPr>
          <p:nvPr/>
        </p:nvCxnSpPr>
        <p:spPr>
          <a:xfrm flipH="1">
            <a:off x="5399985" y="3953822"/>
            <a:ext cx="1174476" cy="382341"/>
          </a:xfrm>
          <a:prstGeom prst="line">
            <a:avLst/>
          </a:prstGeom>
          <a:ln w="25400">
            <a:solidFill>
              <a:srgbClr val="D84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42" name="Connettore diritto 13341">
            <a:extLst>
              <a:ext uri="{FF2B5EF4-FFF2-40B4-BE49-F238E27FC236}">
                <a16:creationId xmlns:a16="http://schemas.microsoft.com/office/drawing/2014/main" id="{B50C4626-6DAA-724C-B491-FA89EC813D17}"/>
              </a:ext>
            </a:extLst>
          </p:cNvPr>
          <p:cNvCxnSpPr>
            <a:cxnSpLocks/>
            <a:stCxn id="34" idx="3"/>
          </p:cNvCxnSpPr>
          <p:nvPr/>
        </p:nvCxnSpPr>
        <p:spPr>
          <a:xfrm flipH="1">
            <a:off x="5399985" y="5032231"/>
            <a:ext cx="1227197" cy="476759"/>
          </a:xfrm>
          <a:prstGeom prst="line">
            <a:avLst/>
          </a:prstGeom>
          <a:ln w="25400">
            <a:solidFill>
              <a:srgbClr val="D84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45" name="Connettore diritto 13344">
            <a:extLst>
              <a:ext uri="{FF2B5EF4-FFF2-40B4-BE49-F238E27FC236}">
                <a16:creationId xmlns:a16="http://schemas.microsoft.com/office/drawing/2014/main" id="{9713722C-86C8-457F-EB04-BC38EE914CD6}"/>
              </a:ext>
            </a:extLst>
          </p:cNvPr>
          <p:cNvCxnSpPr>
            <a:cxnSpLocks/>
            <a:endCxn id="29" idx="6"/>
          </p:cNvCxnSpPr>
          <p:nvPr/>
        </p:nvCxnSpPr>
        <p:spPr>
          <a:xfrm flipH="1">
            <a:off x="4063163" y="5587677"/>
            <a:ext cx="1336822" cy="0"/>
          </a:xfrm>
          <a:prstGeom prst="line">
            <a:avLst/>
          </a:prstGeom>
          <a:ln w="25400">
            <a:solidFill>
              <a:srgbClr val="D84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49" name="Connettore diritto 13348">
            <a:extLst>
              <a:ext uri="{FF2B5EF4-FFF2-40B4-BE49-F238E27FC236}">
                <a16:creationId xmlns:a16="http://schemas.microsoft.com/office/drawing/2014/main" id="{9A7F01CD-D1E6-5E6F-B69E-41EC630D93E6}"/>
              </a:ext>
            </a:extLst>
          </p:cNvPr>
          <p:cNvCxnSpPr>
            <a:cxnSpLocks/>
            <a:endCxn id="28" idx="6"/>
          </p:cNvCxnSpPr>
          <p:nvPr/>
        </p:nvCxnSpPr>
        <p:spPr>
          <a:xfrm flipH="1">
            <a:off x="4063163" y="4901771"/>
            <a:ext cx="2618138" cy="180000"/>
          </a:xfrm>
          <a:prstGeom prst="line">
            <a:avLst/>
          </a:prstGeom>
          <a:ln w="25400">
            <a:solidFill>
              <a:srgbClr val="D84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52" name="Connettore diritto 13351">
            <a:extLst>
              <a:ext uri="{FF2B5EF4-FFF2-40B4-BE49-F238E27FC236}">
                <a16:creationId xmlns:a16="http://schemas.microsoft.com/office/drawing/2014/main" id="{3EE57021-6F45-536C-5AE1-2501216F9F35}"/>
              </a:ext>
            </a:extLst>
          </p:cNvPr>
          <p:cNvCxnSpPr>
            <a:cxnSpLocks/>
            <a:endCxn id="27" idx="6"/>
          </p:cNvCxnSpPr>
          <p:nvPr/>
        </p:nvCxnSpPr>
        <p:spPr>
          <a:xfrm flipH="1">
            <a:off x="4063163" y="4392891"/>
            <a:ext cx="1336822" cy="182975"/>
          </a:xfrm>
          <a:prstGeom prst="line">
            <a:avLst/>
          </a:prstGeom>
          <a:ln w="25400">
            <a:solidFill>
              <a:srgbClr val="D84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60" name="Connettore diritto 13359">
            <a:extLst>
              <a:ext uri="{FF2B5EF4-FFF2-40B4-BE49-F238E27FC236}">
                <a16:creationId xmlns:a16="http://schemas.microsoft.com/office/drawing/2014/main" id="{FA63FE71-C59B-4528-1195-C28772D4430A}"/>
              </a:ext>
            </a:extLst>
          </p:cNvPr>
          <p:cNvCxnSpPr>
            <a:cxnSpLocks/>
            <a:endCxn id="33" idx="6"/>
          </p:cNvCxnSpPr>
          <p:nvPr/>
        </p:nvCxnSpPr>
        <p:spPr>
          <a:xfrm flipH="1">
            <a:off x="6934461" y="3744056"/>
            <a:ext cx="1032339" cy="209766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63" name="Connettore diritto 13362">
            <a:extLst>
              <a:ext uri="{FF2B5EF4-FFF2-40B4-BE49-F238E27FC236}">
                <a16:creationId xmlns:a16="http://schemas.microsoft.com/office/drawing/2014/main" id="{F5F7B75C-42CE-A5F1-3AD8-618BF20ED01D}"/>
              </a:ext>
            </a:extLst>
          </p:cNvPr>
          <p:cNvCxnSpPr>
            <a:cxnSpLocks/>
            <a:stCxn id="36" idx="1"/>
          </p:cNvCxnSpPr>
          <p:nvPr/>
        </p:nvCxnSpPr>
        <p:spPr>
          <a:xfrm flipH="1" flipV="1">
            <a:off x="6736807" y="3976582"/>
            <a:ext cx="1155349" cy="1123816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67" name="Connettore diritto 13366">
            <a:extLst>
              <a:ext uri="{FF2B5EF4-FFF2-40B4-BE49-F238E27FC236}">
                <a16:creationId xmlns:a16="http://schemas.microsoft.com/office/drawing/2014/main" id="{E489E6B7-A2FF-AF74-BE03-AC8697BF373E}"/>
              </a:ext>
            </a:extLst>
          </p:cNvPr>
          <p:cNvCxnSpPr>
            <a:cxnSpLocks/>
            <a:endCxn id="34" idx="7"/>
          </p:cNvCxnSpPr>
          <p:nvPr/>
        </p:nvCxnSpPr>
        <p:spPr>
          <a:xfrm flipH="1">
            <a:off x="6881740" y="3773822"/>
            <a:ext cx="1065922" cy="1003851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70" name="Connettore diritto 13369">
            <a:extLst>
              <a:ext uri="{FF2B5EF4-FFF2-40B4-BE49-F238E27FC236}">
                <a16:creationId xmlns:a16="http://schemas.microsoft.com/office/drawing/2014/main" id="{FACE6274-1931-8FF2-41A0-DC8E4A50EE43}"/>
              </a:ext>
            </a:extLst>
          </p:cNvPr>
          <p:cNvCxnSpPr>
            <a:cxnSpLocks/>
            <a:endCxn id="34" idx="5"/>
          </p:cNvCxnSpPr>
          <p:nvPr/>
        </p:nvCxnSpPr>
        <p:spPr>
          <a:xfrm flipH="1" flipV="1">
            <a:off x="6881740" y="5032231"/>
            <a:ext cx="1085060" cy="218332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e 32">
            <a:extLst>
              <a:ext uri="{FF2B5EF4-FFF2-40B4-BE49-F238E27FC236}">
                <a16:creationId xmlns:a16="http://schemas.microsoft.com/office/drawing/2014/main" id="{99E4FD03-E3C8-A039-C9AE-6483236722CD}"/>
              </a:ext>
            </a:extLst>
          </p:cNvPr>
          <p:cNvSpPr/>
          <p:nvPr/>
        </p:nvSpPr>
        <p:spPr>
          <a:xfrm>
            <a:off x="6574461" y="3773822"/>
            <a:ext cx="360000" cy="360000"/>
          </a:xfrm>
          <a:prstGeom prst="ellipse">
            <a:avLst/>
          </a:prstGeom>
          <a:solidFill>
            <a:srgbClr val="02AD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104F167D-A0E7-AD97-FDB4-09F5CBCA4F43}"/>
              </a:ext>
            </a:extLst>
          </p:cNvPr>
          <p:cNvSpPr/>
          <p:nvPr/>
        </p:nvSpPr>
        <p:spPr>
          <a:xfrm>
            <a:off x="6574461" y="4724952"/>
            <a:ext cx="360000" cy="360000"/>
          </a:xfrm>
          <a:prstGeom prst="ellipse">
            <a:avLst/>
          </a:prstGeom>
          <a:solidFill>
            <a:srgbClr val="02AD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3374" name="Connettore diritto 13373">
            <a:extLst>
              <a:ext uri="{FF2B5EF4-FFF2-40B4-BE49-F238E27FC236}">
                <a16:creationId xmlns:a16="http://schemas.microsoft.com/office/drawing/2014/main" id="{EEF0921F-CD9E-6A50-E5A6-97B441475DA6}"/>
              </a:ext>
            </a:extLst>
          </p:cNvPr>
          <p:cNvCxnSpPr>
            <a:cxnSpLocks/>
            <a:stCxn id="38" idx="2"/>
            <a:endCxn id="36" idx="6"/>
          </p:cNvCxnSpPr>
          <p:nvPr/>
        </p:nvCxnSpPr>
        <p:spPr>
          <a:xfrm flipH="1">
            <a:off x="8199435" y="5227677"/>
            <a:ext cx="659456" cy="0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77" name="Connettore diritto 13376">
            <a:extLst>
              <a:ext uri="{FF2B5EF4-FFF2-40B4-BE49-F238E27FC236}">
                <a16:creationId xmlns:a16="http://schemas.microsoft.com/office/drawing/2014/main" id="{7B715AAC-94F5-0455-A674-478621A9E88C}"/>
              </a:ext>
            </a:extLst>
          </p:cNvPr>
          <p:cNvCxnSpPr>
            <a:cxnSpLocks/>
            <a:stCxn id="36" idx="0"/>
            <a:endCxn id="35" idx="4"/>
          </p:cNvCxnSpPr>
          <p:nvPr/>
        </p:nvCxnSpPr>
        <p:spPr>
          <a:xfrm flipH="1" flipV="1">
            <a:off x="8013935" y="3894014"/>
            <a:ext cx="5500" cy="1153663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80" name="Connettore diritto 13379">
            <a:extLst>
              <a:ext uri="{FF2B5EF4-FFF2-40B4-BE49-F238E27FC236}">
                <a16:creationId xmlns:a16="http://schemas.microsoft.com/office/drawing/2014/main" id="{D2CCCB13-EE08-5433-F5BA-BA64D12C90D3}"/>
              </a:ext>
            </a:extLst>
          </p:cNvPr>
          <p:cNvCxnSpPr>
            <a:cxnSpLocks/>
            <a:stCxn id="38" idx="0"/>
            <a:endCxn id="37" idx="4"/>
          </p:cNvCxnSpPr>
          <p:nvPr/>
        </p:nvCxnSpPr>
        <p:spPr>
          <a:xfrm flipH="1" flipV="1">
            <a:off x="9027420" y="3894014"/>
            <a:ext cx="11471" cy="1153663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83" name="Connettore diritto 13382">
            <a:extLst>
              <a:ext uri="{FF2B5EF4-FFF2-40B4-BE49-F238E27FC236}">
                <a16:creationId xmlns:a16="http://schemas.microsoft.com/office/drawing/2014/main" id="{722A5B30-7D4B-21CD-3E5E-75FFF5339A4D}"/>
              </a:ext>
            </a:extLst>
          </p:cNvPr>
          <p:cNvCxnSpPr>
            <a:cxnSpLocks/>
            <a:stCxn id="35" idx="6"/>
            <a:endCxn id="37" idx="2"/>
          </p:cNvCxnSpPr>
          <p:nvPr/>
        </p:nvCxnSpPr>
        <p:spPr>
          <a:xfrm>
            <a:off x="8193935" y="3714014"/>
            <a:ext cx="653485" cy="0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86" name="Connettore diritto 13385">
            <a:extLst>
              <a:ext uri="{FF2B5EF4-FFF2-40B4-BE49-F238E27FC236}">
                <a16:creationId xmlns:a16="http://schemas.microsoft.com/office/drawing/2014/main" id="{08FE2FEE-6B84-A291-B693-044063A4B7CF}"/>
              </a:ext>
            </a:extLst>
          </p:cNvPr>
          <p:cNvCxnSpPr>
            <a:cxnSpLocks/>
            <a:stCxn id="38" idx="1"/>
            <a:endCxn id="35" idx="5"/>
          </p:cNvCxnSpPr>
          <p:nvPr/>
        </p:nvCxnSpPr>
        <p:spPr>
          <a:xfrm flipH="1" flipV="1">
            <a:off x="8141214" y="3841293"/>
            <a:ext cx="770398" cy="1259105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89" name="Connettore diritto 13388">
            <a:extLst>
              <a:ext uri="{FF2B5EF4-FFF2-40B4-BE49-F238E27FC236}">
                <a16:creationId xmlns:a16="http://schemas.microsoft.com/office/drawing/2014/main" id="{7446B57D-E205-8A8D-782D-6A86C07270F9}"/>
              </a:ext>
            </a:extLst>
          </p:cNvPr>
          <p:cNvCxnSpPr>
            <a:cxnSpLocks/>
            <a:stCxn id="36" idx="7"/>
            <a:endCxn id="37" idx="3"/>
          </p:cNvCxnSpPr>
          <p:nvPr/>
        </p:nvCxnSpPr>
        <p:spPr>
          <a:xfrm flipV="1">
            <a:off x="8146714" y="3841293"/>
            <a:ext cx="753427" cy="1259105"/>
          </a:xfrm>
          <a:prstGeom prst="line">
            <a:avLst/>
          </a:prstGeom>
          <a:ln w="25400">
            <a:solidFill>
              <a:srgbClr val="021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92" name="Connettore diritto 13391">
            <a:extLst>
              <a:ext uri="{FF2B5EF4-FFF2-40B4-BE49-F238E27FC236}">
                <a16:creationId xmlns:a16="http://schemas.microsoft.com/office/drawing/2014/main" id="{C325246D-B28D-7984-49B0-2D76E5F8FCF6}"/>
              </a:ext>
            </a:extLst>
          </p:cNvPr>
          <p:cNvCxnSpPr>
            <a:cxnSpLocks/>
            <a:stCxn id="37" idx="6"/>
            <a:endCxn id="41" idx="2"/>
          </p:cNvCxnSpPr>
          <p:nvPr/>
        </p:nvCxnSpPr>
        <p:spPr>
          <a:xfrm>
            <a:off x="9207420" y="3714014"/>
            <a:ext cx="600386" cy="1761"/>
          </a:xfrm>
          <a:prstGeom prst="line">
            <a:avLst/>
          </a:prstGeom>
          <a:ln w="25400">
            <a:solidFill>
              <a:srgbClr val="FE01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98" name="Connettore diritto 13397">
            <a:extLst>
              <a:ext uri="{FF2B5EF4-FFF2-40B4-BE49-F238E27FC236}">
                <a16:creationId xmlns:a16="http://schemas.microsoft.com/office/drawing/2014/main" id="{ADD270D7-5054-CABA-66AF-67281C22F08E}"/>
              </a:ext>
            </a:extLst>
          </p:cNvPr>
          <p:cNvCxnSpPr>
            <a:cxnSpLocks/>
            <a:stCxn id="37" idx="5"/>
            <a:endCxn id="43" idx="2"/>
          </p:cNvCxnSpPr>
          <p:nvPr/>
        </p:nvCxnSpPr>
        <p:spPr>
          <a:xfrm>
            <a:off x="9154699" y="3841293"/>
            <a:ext cx="709669" cy="1386384"/>
          </a:xfrm>
          <a:prstGeom prst="line">
            <a:avLst/>
          </a:prstGeom>
          <a:ln w="25400">
            <a:solidFill>
              <a:srgbClr val="FE01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01" name="Connettore diritto 13400">
            <a:extLst>
              <a:ext uri="{FF2B5EF4-FFF2-40B4-BE49-F238E27FC236}">
                <a16:creationId xmlns:a16="http://schemas.microsoft.com/office/drawing/2014/main" id="{EDE98F73-F65E-5D40-0958-5007B3105262}"/>
              </a:ext>
            </a:extLst>
          </p:cNvPr>
          <p:cNvCxnSpPr>
            <a:cxnSpLocks/>
            <a:stCxn id="38" idx="6"/>
            <a:endCxn id="41" idx="3"/>
          </p:cNvCxnSpPr>
          <p:nvPr/>
        </p:nvCxnSpPr>
        <p:spPr>
          <a:xfrm flipV="1">
            <a:off x="9218891" y="3843054"/>
            <a:ext cx="641636" cy="1384623"/>
          </a:xfrm>
          <a:prstGeom prst="line">
            <a:avLst/>
          </a:prstGeom>
          <a:ln w="25400">
            <a:solidFill>
              <a:srgbClr val="FE01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04" name="Connettore diritto 13403">
            <a:extLst>
              <a:ext uri="{FF2B5EF4-FFF2-40B4-BE49-F238E27FC236}">
                <a16:creationId xmlns:a16="http://schemas.microsoft.com/office/drawing/2014/main" id="{BCB08682-CAD3-899C-2995-619FB1E026E4}"/>
              </a:ext>
            </a:extLst>
          </p:cNvPr>
          <p:cNvCxnSpPr>
            <a:cxnSpLocks/>
            <a:stCxn id="38" idx="6"/>
            <a:endCxn id="43" idx="2"/>
          </p:cNvCxnSpPr>
          <p:nvPr/>
        </p:nvCxnSpPr>
        <p:spPr>
          <a:xfrm>
            <a:off x="9218891" y="5227677"/>
            <a:ext cx="645477" cy="0"/>
          </a:xfrm>
          <a:prstGeom prst="line">
            <a:avLst/>
          </a:prstGeom>
          <a:ln w="25400">
            <a:solidFill>
              <a:srgbClr val="FE01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07" name="CasellaDiTesto 13406">
            <a:extLst>
              <a:ext uri="{FF2B5EF4-FFF2-40B4-BE49-F238E27FC236}">
                <a16:creationId xmlns:a16="http://schemas.microsoft.com/office/drawing/2014/main" id="{8350D557-E6CB-EC51-37F4-5218EA2AAE1E}"/>
              </a:ext>
            </a:extLst>
          </p:cNvPr>
          <p:cNvSpPr txBox="1"/>
          <p:nvPr/>
        </p:nvSpPr>
        <p:spPr>
          <a:xfrm>
            <a:off x="8076304" y="3281554"/>
            <a:ext cx="7825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i="1" dirty="0">
                <a:latin typeface="+mj-lt"/>
              </a:rPr>
              <a:t>Super POP</a:t>
            </a:r>
          </a:p>
        </p:txBody>
      </p:sp>
      <p:sp>
        <p:nvSpPr>
          <p:cNvPr id="13408" name="CasellaDiTesto 13407">
            <a:extLst>
              <a:ext uri="{FF2B5EF4-FFF2-40B4-BE49-F238E27FC236}">
                <a16:creationId xmlns:a16="http://schemas.microsoft.com/office/drawing/2014/main" id="{404EBB73-2076-92C6-82B5-406DE0B528B9}"/>
              </a:ext>
            </a:extLst>
          </p:cNvPr>
          <p:cNvSpPr txBox="1"/>
          <p:nvPr/>
        </p:nvSpPr>
        <p:spPr>
          <a:xfrm>
            <a:off x="6345513" y="3463017"/>
            <a:ext cx="9156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i="1" dirty="0">
                <a:latin typeface="+mj-lt"/>
              </a:rPr>
              <a:t>Satellite POP</a:t>
            </a:r>
          </a:p>
        </p:txBody>
      </p:sp>
      <p:sp>
        <p:nvSpPr>
          <p:cNvPr id="13409" name="CasellaDiTesto 13408">
            <a:extLst>
              <a:ext uri="{FF2B5EF4-FFF2-40B4-BE49-F238E27FC236}">
                <a16:creationId xmlns:a16="http://schemas.microsoft.com/office/drawing/2014/main" id="{7896D1AE-89E7-AB65-20C6-2BCDEA1B78D0}"/>
              </a:ext>
            </a:extLst>
          </p:cNvPr>
          <p:cNvSpPr txBox="1"/>
          <p:nvPr/>
        </p:nvSpPr>
        <p:spPr>
          <a:xfrm>
            <a:off x="4858899" y="3134167"/>
            <a:ext cx="9444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i="1" dirty="0">
                <a:latin typeface="+mj-lt"/>
              </a:rPr>
              <a:t>National POP</a:t>
            </a:r>
          </a:p>
        </p:txBody>
      </p:sp>
      <p:sp>
        <p:nvSpPr>
          <p:cNvPr id="13410" name="CasellaDiTesto 13409">
            <a:extLst>
              <a:ext uri="{FF2B5EF4-FFF2-40B4-BE49-F238E27FC236}">
                <a16:creationId xmlns:a16="http://schemas.microsoft.com/office/drawing/2014/main" id="{4EFF9B86-1C6A-7451-DB68-46B9C979FB57}"/>
              </a:ext>
            </a:extLst>
          </p:cNvPr>
          <p:cNvSpPr txBox="1"/>
          <p:nvPr/>
        </p:nvSpPr>
        <p:spPr>
          <a:xfrm>
            <a:off x="3517518" y="2852147"/>
            <a:ext cx="7312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i="1" dirty="0">
                <a:latin typeface="+mj-lt"/>
              </a:rPr>
              <a:t>Edge POP</a:t>
            </a:r>
          </a:p>
        </p:txBody>
      </p:sp>
      <p:sp>
        <p:nvSpPr>
          <p:cNvPr id="13411" name="CasellaDiTesto 13410">
            <a:extLst>
              <a:ext uri="{FF2B5EF4-FFF2-40B4-BE49-F238E27FC236}">
                <a16:creationId xmlns:a16="http://schemas.microsoft.com/office/drawing/2014/main" id="{9E7EB92B-F848-C3B5-7168-866081B4D0C7}"/>
              </a:ext>
            </a:extLst>
          </p:cNvPr>
          <p:cNvSpPr txBox="1"/>
          <p:nvPr/>
        </p:nvSpPr>
        <p:spPr>
          <a:xfrm>
            <a:off x="428769" y="4362476"/>
            <a:ext cx="77777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i="1" dirty="0">
                <a:latin typeface="+mj-lt"/>
              </a:rPr>
              <a:t>Sky WiFi</a:t>
            </a:r>
          </a:p>
          <a:p>
            <a:r>
              <a:rPr lang="it-IT" sz="1100" i="1" dirty="0">
                <a:latin typeface="+mj-lt"/>
              </a:rPr>
              <a:t>customers</a:t>
            </a:r>
          </a:p>
        </p:txBody>
      </p:sp>
      <p:sp>
        <p:nvSpPr>
          <p:cNvPr id="13412" name="CasellaDiTesto 13411">
            <a:extLst>
              <a:ext uri="{FF2B5EF4-FFF2-40B4-BE49-F238E27FC236}">
                <a16:creationId xmlns:a16="http://schemas.microsoft.com/office/drawing/2014/main" id="{0342F505-6980-52D9-783C-2C1E76D61DD7}"/>
              </a:ext>
            </a:extLst>
          </p:cNvPr>
          <p:cNvSpPr txBox="1"/>
          <p:nvPr/>
        </p:nvSpPr>
        <p:spPr>
          <a:xfrm>
            <a:off x="1962052" y="3448202"/>
            <a:ext cx="60465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i="1" dirty="0">
                <a:latin typeface="+mj-lt"/>
              </a:rPr>
              <a:t>Access </a:t>
            </a:r>
          </a:p>
          <a:p>
            <a:r>
              <a:rPr lang="it-IT" sz="1100" i="1" dirty="0">
                <a:latin typeface="+mj-lt"/>
              </a:rPr>
              <a:t>carriers</a:t>
            </a:r>
          </a:p>
        </p:txBody>
      </p:sp>
      <p:sp>
        <p:nvSpPr>
          <p:cNvPr id="13416" name="Rectangle 124">
            <a:extLst>
              <a:ext uri="{FF2B5EF4-FFF2-40B4-BE49-F238E27FC236}">
                <a16:creationId xmlns:a16="http://schemas.microsoft.com/office/drawing/2014/main" id="{8E30CACB-F89D-5E31-4DD3-89B059503162}"/>
              </a:ext>
            </a:extLst>
          </p:cNvPr>
          <p:cNvSpPr/>
          <p:nvPr/>
        </p:nvSpPr>
        <p:spPr>
          <a:xfrm>
            <a:off x="1244602" y="2629166"/>
            <a:ext cx="1628532" cy="781311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877824">
              <a:defRPr/>
            </a:pPr>
            <a:endParaRPr lang="en-AU" sz="1400" b="1" dirty="0">
              <a:solidFill>
                <a:srgbClr val="333333"/>
              </a:solidFill>
              <a:latin typeface="Sky Text"/>
            </a:endParaRPr>
          </a:p>
          <a:p>
            <a:pPr algn="r" defTabSz="877824">
              <a:defRPr/>
            </a:pPr>
            <a:r>
              <a:rPr lang="en-AU" sz="1400" b="1" dirty="0">
                <a:solidFill>
                  <a:srgbClr val="333333"/>
                </a:solidFill>
                <a:latin typeface="Sky Text"/>
              </a:rPr>
              <a:t>˜60% </a:t>
            </a:r>
            <a:r>
              <a:rPr lang="en-AU" sz="1400" dirty="0">
                <a:solidFill>
                  <a:srgbClr val="333333"/>
                </a:solidFill>
                <a:latin typeface="Sky Text"/>
              </a:rPr>
              <a:t>CB on </a:t>
            </a:r>
            <a:r>
              <a:rPr lang="en-AU" sz="1400" b="1" dirty="0">
                <a:solidFill>
                  <a:srgbClr val="333333"/>
                </a:solidFill>
                <a:latin typeface="Sky Text"/>
              </a:rPr>
              <a:t>FTTC</a:t>
            </a:r>
          </a:p>
          <a:p>
            <a:pPr algn="r" defTabSz="877824">
              <a:defRPr/>
            </a:pPr>
            <a:endParaRPr lang="en-AU" sz="1400" b="1" dirty="0">
              <a:solidFill>
                <a:srgbClr val="333333"/>
              </a:solidFill>
              <a:latin typeface="Sky Text"/>
            </a:endParaRPr>
          </a:p>
          <a:p>
            <a:pPr algn="r" defTabSz="877824">
              <a:defRPr/>
            </a:pPr>
            <a:r>
              <a:rPr lang="en-AU" sz="1400" b="1" dirty="0">
                <a:solidFill>
                  <a:srgbClr val="333333"/>
                </a:solidFill>
                <a:latin typeface="Sky Text"/>
              </a:rPr>
              <a:t>˜40% </a:t>
            </a:r>
            <a:r>
              <a:rPr lang="en-AU" sz="1400" dirty="0">
                <a:solidFill>
                  <a:srgbClr val="333333"/>
                </a:solidFill>
                <a:latin typeface="Sky Text"/>
              </a:rPr>
              <a:t>CB on </a:t>
            </a:r>
            <a:r>
              <a:rPr lang="en-AU" sz="1400" b="1" dirty="0">
                <a:solidFill>
                  <a:srgbClr val="333333"/>
                </a:solidFill>
                <a:latin typeface="Sky Text"/>
              </a:rPr>
              <a:t>FTTH</a:t>
            </a:r>
          </a:p>
          <a:p>
            <a:pPr algn="r" defTabSz="877824">
              <a:defRPr/>
            </a:pPr>
            <a:endParaRPr lang="en-AU" sz="1400" b="1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13426" name="Rectangle 124">
            <a:extLst>
              <a:ext uri="{FF2B5EF4-FFF2-40B4-BE49-F238E27FC236}">
                <a16:creationId xmlns:a16="http://schemas.microsoft.com/office/drawing/2014/main" id="{EC0EA4AE-5E82-6885-5A65-DAD5EA2FE534}"/>
              </a:ext>
            </a:extLst>
          </p:cNvPr>
          <p:cNvSpPr/>
          <p:nvPr/>
        </p:nvSpPr>
        <p:spPr>
          <a:xfrm>
            <a:off x="3174473" y="2167438"/>
            <a:ext cx="1226744" cy="560290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536" dirty="0">
                <a:solidFill>
                  <a:srgbClr val="333333"/>
                </a:solidFill>
                <a:latin typeface="Sky Text"/>
              </a:rPr>
              <a:t>OLTs</a:t>
            </a:r>
          </a:p>
          <a:p>
            <a:pPr algn="ctr" defTabSz="877824">
              <a:defRPr/>
            </a:pPr>
            <a:r>
              <a:rPr lang="en-AU" sz="1536" dirty="0">
                <a:solidFill>
                  <a:srgbClr val="333333"/>
                </a:solidFill>
                <a:latin typeface="Sky Text"/>
              </a:rPr>
              <a:t>+ NNIs</a:t>
            </a:r>
          </a:p>
        </p:txBody>
      </p:sp>
      <p:sp>
        <p:nvSpPr>
          <p:cNvPr id="13427" name="Rectangle 124">
            <a:extLst>
              <a:ext uri="{FF2B5EF4-FFF2-40B4-BE49-F238E27FC236}">
                <a16:creationId xmlns:a16="http://schemas.microsoft.com/office/drawing/2014/main" id="{AB2DBBCA-785F-80D7-925E-31AACD0ABB94}"/>
              </a:ext>
            </a:extLst>
          </p:cNvPr>
          <p:cNvSpPr/>
          <p:nvPr/>
        </p:nvSpPr>
        <p:spPr>
          <a:xfrm>
            <a:off x="4395273" y="1217833"/>
            <a:ext cx="1842887" cy="560290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536">
                <a:solidFill>
                  <a:srgbClr val="333333"/>
                </a:solidFill>
                <a:latin typeface="Sky Text"/>
              </a:rPr>
              <a:t>Metro </a:t>
            </a:r>
            <a:r>
              <a:rPr lang="en-AU" sz="1536" dirty="0">
                <a:solidFill>
                  <a:srgbClr val="333333"/>
                </a:solidFill>
                <a:latin typeface="Sky Text"/>
              </a:rPr>
              <a:t>Aggregator switch</a:t>
            </a:r>
          </a:p>
        </p:txBody>
      </p:sp>
      <p:sp>
        <p:nvSpPr>
          <p:cNvPr id="13428" name="Rectangle 124">
            <a:extLst>
              <a:ext uri="{FF2B5EF4-FFF2-40B4-BE49-F238E27FC236}">
                <a16:creationId xmlns:a16="http://schemas.microsoft.com/office/drawing/2014/main" id="{02EA00AA-CC33-CCF0-2372-B1842C48760F}"/>
              </a:ext>
            </a:extLst>
          </p:cNvPr>
          <p:cNvSpPr/>
          <p:nvPr/>
        </p:nvSpPr>
        <p:spPr>
          <a:xfrm>
            <a:off x="5815363" y="2256317"/>
            <a:ext cx="1842887" cy="560290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536" b="1" dirty="0">
                <a:solidFill>
                  <a:srgbClr val="333333"/>
                </a:solidFill>
                <a:latin typeface="Sky Text"/>
              </a:rPr>
              <a:t>x14 </a:t>
            </a:r>
            <a:r>
              <a:rPr lang="en-AU" sz="1536" dirty="0">
                <a:solidFill>
                  <a:srgbClr val="333333"/>
                </a:solidFill>
                <a:latin typeface="Sky Text"/>
              </a:rPr>
              <a:t>Transport Aggregator POPs</a:t>
            </a:r>
          </a:p>
        </p:txBody>
      </p:sp>
      <p:sp>
        <p:nvSpPr>
          <p:cNvPr id="13430" name="Rectangle 124">
            <a:extLst>
              <a:ext uri="{FF2B5EF4-FFF2-40B4-BE49-F238E27FC236}">
                <a16:creationId xmlns:a16="http://schemas.microsoft.com/office/drawing/2014/main" id="{317687F2-E38E-2749-1196-7B2BAE161FE6}"/>
              </a:ext>
            </a:extLst>
          </p:cNvPr>
          <p:cNvSpPr/>
          <p:nvPr/>
        </p:nvSpPr>
        <p:spPr>
          <a:xfrm>
            <a:off x="7827743" y="1211129"/>
            <a:ext cx="1279707" cy="560290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536" b="1" dirty="0">
                <a:solidFill>
                  <a:srgbClr val="333333"/>
                </a:solidFill>
                <a:latin typeface="Sky Text"/>
              </a:rPr>
              <a:t>x8 </a:t>
            </a:r>
            <a:r>
              <a:rPr lang="en-AU" sz="1536" dirty="0">
                <a:solidFill>
                  <a:srgbClr val="333333"/>
                </a:solidFill>
                <a:latin typeface="Sky Text"/>
              </a:rPr>
              <a:t>P Core routers</a:t>
            </a:r>
          </a:p>
        </p:txBody>
      </p:sp>
      <p:sp>
        <p:nvSpPr>
          <p:cNvPr id="13431" name="Rectangle 124">
            <a:extLst>
              <a:ext uri="{FF2B5EF4-FFF2-40B4-BE49-F238E27FC236}">
                <a16:creationId xmlns:a16="http://schemas.microsoft.com/office/drawing/2014/main" id="{9661F5B0-DE25-D7DE-AF4D-CEB88AD1B4BA}"/>
              </a:ext>
            </a:extLst>
          </p:cNvPr>
          <p:cNvSpPr/>
          <p:nvPr/>
        </p:nvSpPr>
        <p:spPr>
          <a:xfrm>
            <a:off x="9318309" y="2214783"/>
            <a:ext cx="1480936" cy="560290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24">
              <a:defRPr/>
            </a:pPr>
            <a:r>
              <a:rPr lang="en-AU" sz="1536" b="1" dirty="0">
                <a:solidFill>
                  <a:srgbClr val="333333"/>
                </a:solidFill>
                <a:latin typeface="Sky Text"/>
              </a:rPr>
              <a:t>x8 </a:t>
            </a:r>
            <a:r>
              <a:rPr lang="en-AU" sz="1536" dirty="0">
                <a:solidFill>
                  <a:srgbClr val="333333"/>
                </a:solidFill>
                <a:latin typeface="Sky Text"/>
              </a:rPr>
              <a:t>Peering &amp; Transit routers</a:t>
            </a:r>
          </a:p>
        </p:txBody>
      </p:sp>
    </p:spTree>
    <p:extLst>
      <p:ext uri="{BB962C8B-B14F-4D97-AF65-F5344CB8AC3E}">
        <p14:creationId xmlns:p14="http://schemas.microsoft.com/office/powerpoint/2010/main" val="77092405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21" name="Rectangle 124">
            <a:extLst>
              <a:ext uri="{FF2B5EF4-FFF2-40B4-BE49-F238E27FC236}">
                <a16:creationId xmlns:a16="http://schemas.microsoft.com/office/drawing/2014/main" id="{49F6D400-983A-F923-AC1C-FDB2BCDB5956}"/>
              </a:ext>
            </a:extLst>
          </p:cNvPr>
          <p:cNvSpPr/>
          <p:nvPr/>
        </p:nvSpPr>
        <p:spPr>
          <a:xfrm>
            <a:off x="5901525" y="1414826"/>
            <a:ext cx="5466077" cy="495453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13520" name="Rectangle 124">
            <a:extLst>
              <a:ext uri="{FF2B5EF4-FFF2-40B4-BE49-F238E27FC236}">
                <a16:creationId xmlns:a16="http://schemas.microsoft.com/office/drawing/2014/main" id="{60E78134-6FCA-C42F-1DA0-D007D88C5467}"/>
              </a:ext>
            </a:extLst>
          </p:cNvPr>
          <p:cNvSpPr/>
          <p:nvPr/>
        </p:nvSpPr>
        <p:spPr>
          <a:xfrm>
            <a:off x="3030662" y="1429148"/>
            <a:ext cx="2743968" cy="495453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13433" name="Rectangle 124">
            <a:extLst>
              <a:ext uri="{FF2B5EF4-FFF2-40B4-BE49-F238E27FC236}">
                <a16:creationId xmlns:a16="http://schemas.microsoft.com/office/drawing/2014/main" id="{692B0DAE-2216-AEB1-CACC-551E2BC4F8FF}"/>
              </a:ext>
            </a:extLst>
          </p:cNvPr>
          <p:cNvSpPr/>
          <p:nvPr/>
        </p:nvSpPr>
        <p:spPr>
          <a:xfrm>
            <a:off x="337036" y="1416618"/>
            <a:ext cx="2561753" cy="495453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– Optical Transmission</a:t>
            </a:r>
          </a:p>
        </p:txBody>
      </p:sp>
      <p:cxnSp>
        <p:nvCxnSpPr>
          <p:cNvPr id="27" name="Straight Connector 138">
            <a:extLst>
              <a:ext uri="{FF2B5EF4-FFF2-40B4-BE49-F238E27FC236}">
                <a16:creationId xmlns:a16="http://schemas.microsoft.com/office/drawing/2014/main" id="{E7A7D3EB-5385-5A77-9140-5894F8AA98AD}"/>
              </a:ext>
            </a:extLst>
          </p:cNvPr>
          <p:cNvCxnSpPr>
            <a:cxnSpLocks/>
          </p:cNvCxnSpPr>
          <p:nvPr/>
        </p:nvCxnSpPr>
        <p:spPr>
          <a:xfrm>
            <a:off x="482434" y="5987472"/>
            <a:ext cx="317515" cy="0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Box 139">
            <a:extLst>
              <a:ext uri="{FF2B5EF4-FFF2-40B4-BE49-F238E27FC236}">
                <a16:creationId xmlns:a16="http://schemas.microsoft.com/office/drawing/2014/main" id="{00F5CF1F-8B2E-C702-AE8E-4E8F0FE725BA}"/>
              </a:ext>
            </a:extLst>
          </p:cNvPr>
          <p:cNvSpPr txBox="1"/>
          <p:nvPr/>
        </p:nvSpPr>
        <p:spPr>
          <a:xfrm>
            <a:off x="897544" y="5910529"/>
            <a:ext cx="1754824" cy="15388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AU" sz="1000" i="1" dirty="0">
                <a:latin typeface="Sky Text" panose="020B0506040202020204" pitchFamily="34" charset="0"/>
              </a:rPr>
              <a:t>Leased lines*</a:t>
            </a:r>
          </a:p>
        </p:txBody>
      </p:sp>
      <p:sp>
        <p:nvSpPr>
          <p:cNvPr id="13335" name="TextBox 146">
            <a:extLst>
              <a:ext uri="{FF2B5EF4-FFF2-40B4-BE49-F238E27FC236}">
                <a16:creationId xmlns:a16="http://schemas.microsoft.com/office/drawing/2014/main" id="{E591831B-3F7E-E0D1-02A5-53E849510055}"/>
              </a:ext>
            </a:extLst>
          </p:cNvPr>
          <p:cNvSpPr txBox="1"/>
          <p:nvPr/>
        </p:nvSpPr>
        <p:spPr>
          <a:xfrm>
            <a:off x="6542065" y="6079099"/>
            <a:ext cx="1215942" cy="15388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AU" sz="1000" i="1" dirty="0">
                <a:latin typeface="Sky Text" panose="020B0506040202020204" pitchFamily="34" charset="0"/>
              </a:rPr>
              <a:t>Leased Line</a:t>
            </a:r>
          </a:p>
        </p:txBody>
      </p:sp>
      <p:cxnSp>
        <p:nvCxnSpPr>
          <p:cNvPr id="13417" name="Straight Connector 244">
            <a:extLst>
              <a:ext uri="{FF2B5EF4-FFF2-40B4-BE49-F238E27FC236}">
                <a16:creationId xmlns:a16="http://schemas.microsoft.com/office/drawing/2014/main" id="{07509779-AF0B-A300-48E5-D78D5BBEF45B}"/>
              </a:ext>
            </a:extLst>
          </p:cNvPr>
          <p:cNvCxnSpPr>
            <a:cxnSpLocks/>
          </p:cNvCxnSpPr>
          <p:nvPr/>
        </p:nvCxnSpPr>
        <p:spPr>
          <a:xfrm>
            <a:off x="6134012" y="5350984"/>
            <a:ext cx="317515" cy="0"/>
          </a:xfrm>
          <a:prstGeom prst="line">
            <a:avLst/>
          </a:prstGeom>
          <a:noFill/>
          <a:ln w="12700">
            <a:gradFill>
              <a:gsLst>
                <a:gs pos="0">
                  <a:srgbClr val="A212FF"/>
                </a:gs>
                <a:gs pos="100000">
                  <a:srgbClr val="D17DFF"/>
                </a:gs>
              </a:gsLst>
              <a:lin ang="9000000" scaled="0"/>
            </a:gradFill>
          </a:ln>
          <a:effectLst>
            <a:glow rad="25400">
              <a:srgbClr val="D17D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418" name="TextBox 245">
            <a:extLst>
              <a:ext uri="{FF2B5EF4-FFF2-40B4-BE49-F238E27FC236}">
                <a16:creationId xmlns:a16="http://schemas.microsoft.com/office/drawing/2014/main" id="{8E40BD8C-DEB2-5896-00AE-95D0C1650C9B}"/>
              </a:ext>
            </a:extLst>
          </p:cNvPr>
          <p:cNvSpPr txBox="1"/>
          <p:nvPr/>
        </p:nvSpPr>
        <p:spPr>
          <a:xfrm>
            <a:off x="6549122" y="5301951"/>
            <a:ext cx="1215942" cy="9806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AU" sz="1000" i="1" dirty="0">
                <a:latin typeface="Sky Text" panose="020B0506040202020204" pitchFamily="34" charset="0"/>
              </a:rPr>
              <a:t>Consolidated routes</a:t>
            </a:r>
          </a:p>
        </p:txBody>
      </p:sp>
      <p:grpSp>
        <p:nvGrpSpPr>
          <p:cNvPr id="13419" name="Gruppo 13418">
            <a:extLst>
              <a:ext uri="{FF2B5EF4-FFF2-40B4-BE49-F238E27FC236}">
                <a16:creationId xmlns:a16="http://schemas.microsoft.com/office/drawing/2014/main" id="{AEACB614-AB73-8AF4-BF5A-299239AE77FD}"/>
              </a:ext>
            </a:extLst>
          </p:cNvPr>
          <p:cNvGrpSpPr/>
          <p:nvPr/>
        </p:nvGrpSpPr>
        <p:grpSpPr>
          <a:xfrm>
            <a:off x="6125606" y="6140227"/>
            <a:ext cx="317515" cy="60309"/>
            <a:chOff x="4800705" y="6357288"/>
            <a:chExt cx="317515" cy="60309"/>
          </a:xfrm>
        </p:grpSpPr>
        <p:cxnSp>
          <p:nvCxnSpPr>
            <p:cNvPr id="13420" name="Straight Connector 144">
              <a:extLst>
                <a:ext uri="{FF2B5EF4-FFF2-40B4-BE49-F238E27FC236}">
                  <a16:creationId xmlns:a16="http://schemas.microsoft.com/office/drawing/2014/main" id="{301C2DF1-5137-1131-EDB6-DE2D9730CA3F}"/>
                </a:ext>
              </a:extLst>
            </p:cNvPr>
            <p:cNvCxnSpPr>
              <a:cxnSpLocks/>
            </p:cNvCxnSpPr>
            <p:nvPr/>
          </p:nvCxnSpPr>
          <p:spPr>
            <a:xfrm>
              <a:off x="4800705" y="6357288"/>
              <a:ext cx="317515" cy="0"/>
            </a:xfrm>
            <a:prstGeom prst="line">
              <a:avLst/>
            </a:prstGeom>
            <a:noFill/>
            <a:ln w="19050">
              <a:solidFill>
                <a:srgbClr val="FFD42E"/>
              </a:solidFill>
              <a:prstDash val="lgDash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21" name="Straight Connector 144">
              <a:extLst>
                <a:ext uri="{FF2B5EF4-FFF2-40B4-BE49-F238E27FC236}">
                  <a16:creationId xmlns:a16="http://schemas.microsoft.com/office/drawing/2014/main" id="{BAF7B823-5F90-E77E-3F8E-4322FA1539D6}"/>
                </a:ext>
              </a:extLst>
            </p:cNvPr>
            <p:cNvCxnSpPr>
              <a:cxnSpLocks/>
            </p:cNvCxnSpPr>
            <p:nvPr/>
          </p:nvCxnSpPr>
          <p:spPr>
            <a:xfrm>
              <a:off x="4800705" y="6417597"/>
              <a:ext cx="317515" cy="0"/>
            </a:xfrm>
            <a:prstGeom prst="line">
              <a:avLst/>
            </a:prstGeom>
            <a:noFill/>
            <a:ln w="19050">
              <a:solidFill>
                <a:srgbClr val="00B050"/>
              </a:solidFill>
              <a:prstDash val="lgDashDot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13422" name="Straight Connector 244">
            <a:extLst>
              <a:ext uri="{FF2B5EF4-FFF2-40B4-BE49-F238E27FC236}">
                <a16:creationId xmlns:a16="http://schemas.microsoft.com/office/drawing/2014/main" id="{3B999334-B7FF-238C-50B3-D2AD0A78B4BA}"/>
              </a:ext>
            </a:extLst>
          </p:cNvPr>
          <p:cNvCxnSpPr>
            <a:cxnSpLocks/>
          </p:cNvCxnSpPr>
          <p:nvPr/>
        </p:nvCxnSpPr>
        <p:spPr>
          <a:xfrm>
            <a:off x="6134012" y="5548295"/>
            <a:ext cx="317515" cy="0"/>
          </a:xfrm>
          <a:prstGeom prst="line">
            <a:avLst/>
          </a:prstGeom>
          <a:noFill/>
          <a:ln w="12700">
            <a:solidFill>
              <a:srgbClr val="00B0F0"/>
            </a:solidFill>
          </a:ln>
          <a:effectLst>
            <a:glow rad="25400">
              <a:srgbClr val="D17D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423" name="TextBox 245">
            <a:extLst>
              <a:ext uri="{FF2B5EF4-FFF2-40B4-BE49-F238E27FC236}">
                <a16:creationId xmlns:a16="http://schemas.microsoft.com/office/drawing/2014/main" id="{23CB9A8E-13C1-2349-6A92-06ABD87B7993}"/>
              </a:ext>
            </a:extLst>
          </p:cNvPr>
          <p:cNvSpPr txBox="1"/>
          <p:nvPr/>
        </p:nvSpPr>
        <p:spPr>
          <a:xfrm>
            <a:off x="6544155" y="5453963"/>
            <a:ext cx="1215942" cy="15388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AU" sz="1000" i="1" dirty="0">
                <a:latin typeface="Sky Text" panose="020B0506040202020204" pitchFamily="34" charset="0"/>
              </a:rPr>
              <a:t>2024</a:t>
            </a:r>
          </a:p>
        </p:txBody>
      </p:sp>
      <p:cxnSp>
        <p:nvCxnSpPr>
          <p:cNvPr id="13424" name="Straight Connector 244">
            <a:extLst>
              <a:ext uri="{FF2B5EF4-FFF2-40B4-BE49-F238E27FC236}">
                <a16:creationId xmlns:a16="http://schemas.microsoft.com/office/drawing/2014/main" id="{EFE89097-1BF1-09AF-F57D-C6028B9F07DF}"/>
              </a:ext>
            </a:extLst>
          </p:cNvPr>
          <p:cNvCxnSpPr>
            <a:cxnSpLocks/>
          </p:cNvCxnSpPr>
          <p:nvPr/>
        </p:nvCxnSpPr>
        <p:spPr>
          <a:xfrm>
            <a:off x="6134012" y="5745606"/>
            <a:ext cx="317515" cy="0"/>
          </a:xfrm>
          <a:prstGeom prst="line">
            <a:avLst/>
          </a:prstGeom>
          <a:noFill/>
          <a:ln w="12700">
            <a:solidFill>
              <a:srgbClr val="0000FF"/>
            </a:solidFill>
          </a:ln>
          <a:effectLst>
            <a:glow rad="25400">
              <a:srgbClr val="D17D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425" name="TextBox 245">
            <a:extLst>
              <a:ext uri="{FF2B5EF4-FFF2-40B4-BE49-F238E27FC236}">
                <a16:creationId xmlns:a16="http://schemas.microsoft.com/office/drawing/2014/main" id="{342CE785-0A11-98D7-D47F-ECB650A7EC7D}"/>
              </a:ext>
            </a:extLst>
          </p:cNvPr>
          <p:cNvSpPr txBox="1"/>
          <p:nvPr/>
        </p:nvSpPr>
        <p:spPr>
          <a:xfrm>
            <a:off x="6544155" y="5661796"/>
            <a:ext cx="1215942" cy="15388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AU" sz="1000" i="1" dirty="0">
                <a:latin typeface="Sky Text" panose="020B0506040202020204" pitchFamily="34" charset="0"/>
              </a:rPr>
              <a:t>2025</a:t>
            </a:r>
          </a:p>
        </p:txBody>
      </p:sp>
      <p:sp>
        <p:nvSpPr>
          <p:cNvPr id="13426" name="TextBox 245">
            <a:extLst>
              <a:ext uri="{FF2B5EF4-FFF2-40B4-BE49-F238E27FC236}">
                <a16:creationId xmlns:a16="http://schemas.microsoft.com/office/drawing/2014/main" id="{E587EA2B-3908-7347-E01D-555158458AFC}"/>
              </a:ext>
            </a:extLst>
          </p:cNvPr>
          <p:cNvSpPr txBox="1"/>
          <p:nvPr/>
        </p:nvSpPr>
        <p:spPr>
          <a:xfrm>
            <a:off x="6537700" y="5869629"/>
            <a:ext cx="1215942" cy="15388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AU" sz="1000" i="1" dirty="0">
                <a:latin typeface="Sky Text" panose="020B0506040202020204" pitchFamily="34" charset="0"/>
              </a:rPr>
              <a:t>2025 Under Evaluation</a:t>
            </a:r>
          </a:p>
        </p:txBody>
      </p:sp>
      <p:cxnSp>
        <p:nvCxnSpPr>
          <p:cNvPr id="13427" name="Straight Connector 244">
            <a:extLst>
              <a:ext uri="{FF2B5EF4-FFF2-40B4-BE49-F238E27FC236}">
                <a16:creationId xmlns:a16="http://schemas.microsoft.com/office/drawing/2014/main" id="{57B5E731-0476-CFD7-ECAE-4D7A2DB3B807}"/>
              </a:ext>
            </a:extLst>
          </p:cNvPr>
          <p:cNvCxnSpPr>
            <a:cxnSpLocks/>
          </p:cNvCxnSpPr>
          <p:nvPr/>
        </p:nvCxnSpPr>
        <p:spPr>
          <a:xfrm>
            <a:off x="6140474" y="5942917"/>
            <a:ext cx="317515" cy="0"/>
          </a:xfrm>
          <a:prstGeom prst="line">
            <a:avLst/>
          </a:prstGeom>
          <a:noFill/>
          <a:ln w="12700">
            <a:solidFill>
              <a:srgbClr val="FF0000"/>
            </a:solidFill>
            <a:prstDash val="sysDot"/>
          </a:ln>
          <a:effectLst>
            <a:glow rad="25400">
              <a:srgbClr val="D17D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522" name="TextBox 146">
            <a:extLst>
              <a:ext uri="{FF2B5EF4-FFF2-40B4-BE49-F238E27FC236}">
                <a16:creationId xmlns:a16="http://schemas.microsoft.com/office/drawing/2014/main" id="{265AFAB9-4701-5944-E844-8B92BBD6037E}"/>
              </a:ext>
            </a:extLst>
          </p:cNvPr>
          <p:cNvSpPr txBox="1"/>
          <p:nvPr/>
        </p:nvSpPr>
        <p:spPr>
          <a:xfrm>
            <a:off x="3597477" y="6073269"/>
            <a:ext cx="1215942" cy="15388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AU" sz="1000" i="1" dirty="0">
                <a:latin typeface="Sky Text" panose="020B0506040202020204" pitchFamily="34" charset="0"/>
              </a:rPr>
              <a:t>Leased Line</a:t>
            </a:r>
          </a:p>
        </p:txBody>
      </p:sp>
      <p:cxnSp>
        <p:nvCxnSpPr>
          <p:cNvPr id="13523" name="Straight Connector 244">
            <a:extLst>
              <a:ext uri="{FF2B5EF4-FFF2-40B4-BE49-F238E27FC236}">
                <a16:creationId xmlns:a16="http://schemas.microsoft.com/office/drawing/2014/main" id="{7FD9C580-B775-1B6F-D511-7B39D49103AB}"/>
              </a:ext>
            </a:extLst>
          </p:cNvPr>
          <p:cNvCxnSpPr>
            <a:cxnSpLocks/>
          </p:cNvCxnSpPr>
          <p:nvPr/>
        </p:nvCxnSpPr>
        <p:spPr>
          <a:xfrm>
            <a:off x="3189424" y="5995606"/>
            <a:ext cx="317515" cy="0"/>
          </a:xfrm>
          <a:prstGeom prst="line">
            <a:avLst/>
          </a:prstGeom>
          <a:noFill/>
          <a:ln w="12700">
            <a:gradFill>
              <a:gsLst>
                <a:gs pos="0">
                  <a:srgbClr val="A212FF"/>
                </a:gs>
                <a:gs pos="100000">
                  <a:srgbClr val="D17DFF"/>
                </a:gs>
              </a:gsLst>
              <a:lin ang="9000000" scaled="0"/>
            </a:gradFill>
          </a:ln>
          <a:effectLst>
            <a:glow rad="25400">
              <a:srgbClr val="D17D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524" name="TextBox 245">
            <a:extLst>
              <a:ext uri="{FF2B5EF4-FFF2-40B4-BE49-F238E27FC236}">
                <a16:creationId xmlns:a16="http://schemas.microsoft.com/office/drawing/2014/main" id="{6D9B6BC9-F941-FE17-1DE3-831089242DCC}"/>
              </a:ext>
            </a:extLst>
          </p:cNvPr>
          <p:cNvSpPr txBox="1"/>
          <p:nvPr/>
        </p:nvSpPr>
        <p:spPr>
          <a:xfrm>
            <a:off x="3604534" y="5946573"/>
            <a:ext cx="1215942" cy="9806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r>
              <a:rPr lang="en-AU" sz="1000" i="1" dirty="0">
                <a:latin typeface="Sky Text" panose="020B0506040202020204" pitchFamily="34" charset="0"/>
              </a:rPr>
              <a:t>Consolidated routes</a:t>
            </a:r>
          </a:p>
        </p:txBody>
      </p:sp>
      <p:cxnSp>
        <p:nvCxnSpPr>
          <p:cNvPr id="13526" name="Straight Connector 144">
            <a:extLst>
              <a:ext uri="{FF2B5EF4-FFF2-40B4-BE49-F238E27FC236}">
                <a16:creationId xmlns:a16="http://schemas.microsoft.com/office/drawing/2014/main" id="{5B15F50A-F003-169B-0A38-CBB6080FCC8C}"/>
              </a:ext>
            </a:extLst>
          </p:cNvPr>
          <p:cNvCxnSpPr>
            <a:cxnSpLocks/>
          </p:cNvCxnSpPr>
          <p:nvPr/>
        </p:nvCxnSpPr>
        <p:spPr>
          <a:xfrm>
            <a:off x="3181018" y="6134397"/>
            <a:ext cx="317515" cy="0"/>
          </a:xfrm>
          <a:prstGeom prst="line">
            <a:avLst/>
          </a:prstGeom>
          <a:noFill/>
          <a:ln w="19050">
            <a:solidFill>
              <a:srgbClr val="FFD42E"/>
            </a:solidFill>
            <a:prstDash val="lgDash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534" name="Freccia a destra 13533">
            <a:extLst>
              <a:ext uri="{FF2B5EF4-FFF2-40B4-BE49-F238E27FC236}">
                <a16:creationId xmlns:a16="http://schemas.microsoft.com/office/drawing/2014/main" id="{E4660D63-8CCB-C036-662B-B0FC23AA15F7}"/>
              </a:ext>
            </a:extLst>
          </p:cNvPr>
          <p:cNvSpPr/>
          <p:nvPr/>
        </p:nvSpPr>
        <p:spPr>
          <a:xfrm>
            <a:off x="337036" y="736793"/>
            <a:ext cx="11030566" cy="715254"/>
          </a:xfrm>
          <a:prstGeom prst="rightArrow">
            <a:avLst>
              <a:gd name="adj1" fmla="val 50000"/>
              <a:gd name="adj2" fmla="val 82949"/>
            </a:avLst>
          </a:prstGeom>
          <a:gradFill flip="none" rotWithShape="1">
            <a:gsLst>
              <a:gs pos="0">
                <a:srgbClr val="9200E5"/>
              </a:gs>
              <a:gs pos="100000">
                <a:srgbClr val="FA00A8"/>
              </a:gs>
            </a:gsLst>
            <a:lin ang="2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4558" tIns="69117" rIns="34558" bIns="34558" rtlCol="0" anchor="ctr"/>
          <a:lstStyle/>
          <a:p>
            <a:pPr algn="ctr" defTabSz="877824">
              <a:lnSpc>
                <a:spcPct val="80000"/>
              </a:lnSpc>
            </a:pPr>
            <a:r>
              <a:rPr lang="it-IT" sz="1600" b="1" dirty="0">
                <a:solidFill>
                  <a:srgbClr val="FFFFFF"/>
                </a:solidFill>
                <a:latin typeface="Sky Text" panose="020B0506040202020204" pitchFamily="34" charset="0"/>
              </a:rPr>
              <a:t>Optical Transmission </a:t>
            </a:r>
            <a:r>
              <a:rPr lang="it-IT" sz="1600" b="1" dirty="0" err="1">
                <a:solidFill>
                  <a:srgbClr val="FFFFFF"/>
                </a:solidFill>
                <a:latin typeface="Sky Text" panose="020B0506040202020204" pitchFamily="34" charset="0"/>
              </a:rPr>
              <a:t>Map</a:t>
            </a:r>
            <a:endParaRPr lang="it-IT" sz="1600" b="1" dirty="0">
              <a:solidFill>
                <a:srgbClr val="FFFFFF"/>
              </a:solidFill>
              <a:latin typeface="Sky Text" panose="020B0506040202020204" pitchFamily="34" charset="0"/>
            </a:endParaRPr>
          </a:p>
        </p:txBody>
      </p:sp>
      <p:sp>
        <p:nvSpPr>
          <p:cNvPr id="13535" name="CasellaDiTesto 13534">
            <a:extLst>
              <a:ext uri="{FF2B5EF4-FFF2-40B4-BE49-F238E27FC236}">
                <a16:creationId xmlns:a16="http://schemas.microsoft.com/office/drawing/2014/main" id="{2638FFC0-9685-86E0-7B14-C91C0D153290}"/>
              </a:ext>
            </a:extLst>
          </p:cNvPr>
          <p:cNvSpPr txBox="1"/>
          <p:nvPr/>
        </p:nvSpPr>
        <p:spPr>
          <a:xfrm>
            <a:off x="1256801" y="1299717"/>
            <a:ext cx="69942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</a:rPr>
              <a:t>2020</a:t>
            </a:r>
          </a:p>
        </p:txBody>
      </p:sp>
      <p:sp>
        <p:nvSpPr>
          <p:cNvPr id="13536" name="CasellaDiTesto 13535">
            <a:extLst>
              <a:ext uri="{FF2B5EF4-FFF2-40B4-BE49-F238E27FC236}">
                <a16:creationId xmlns:a16="http://schemas.microsoft.com/office/drawing/2014/main" id="{321E0C67-7907-2953-5CB9-0D6A65321B39}"/>
              </a:ext>
            </a:extLst>
          </p:cNvPr>
          <p:cNvSpPr txBox="1"/>
          <p:nvPr/>
        </p:nvSpPr>
        <p:spPr>
          <a:xfrm>
            <a:off x="3986999" y="1296205"/>
            <a:ext cx="69942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</a:rPr>
              <a:t>2022</a:t>
            </a:r>
          </a:p>
        </p:txBody>
      </p:sp>
      <p:sp>
        <p:nvSpPr>
          <p:cNvPr id="13537" name="CasellaDiTesto 13536">
            <a:extLst>
              <a:ext uri="{FF2B5EF4-FFF2-40B4-BE49-F238E27FC236}">
                <a16:creationId xmlns:a16="http://schemas.microsoft.com/office/drawing/2014/main" id="{91E7A8DE-15E2-6663-2EAF-E6C3C7210623}"/>
              </a:ext>
            </a:extLst>
          </p:cNvPr>
          <p:cNvSpPr txBox="1"/>
          <p:nvPr/>
        </p:nvSpPr>
        <p:spPr>
          <a:xfrm>
            <a:off x="8211349" y="1296205"/>
            <a:ext cx="69942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</a:rPr>
              <a:t>2024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A2F8D60-7330-08AE-5B29-69BF0635B4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382" y="1684764"/>
            <a:ext cx="2361865" cy="3352324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F07B0FD5-3C7B-9916-5BBB-619C21A760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90946" y="1476018"/>
            <a:ext cx="2623399" cy="3681617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F4B4CE68-E07F-6F19-2706-1E04555C5D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9876" y="1476018"/>
            <a:ext cx="2706406" cy="3769817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D2CF0BAE-F2F0-C932-C767-C10871E52196}"/>
              </a:ext>
            </a:extLst>
          </p:cNvPr>
          <p:cNvSpPr txBox="1"/>
          <p:nvPr/>
        </p:nvSpPr>
        <p:spPr>
          <a:xfrm>
            <a:off x="8656282" y="2086593"/>
            <a:ext cx="2630014" cy="3662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it-IT" sz="1600" b="1" i="0" dirty="0">
                <a:effectLst/>
                <a:latin typeface="+mj-lt"/>
              </a:rPr>
              <a:t>8500 Km </a:t>
            </a:r>
            <a:r>
              <a:rPr lang="it-IT" sz="1600" i="0" dirty="0">
                <a:effectLst/>
                <a:latin typeface="+mj-lt"/>
              </a:rPr>
              <a:t>Dark Fiber </a:t>
            </a: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it-IT" sz="1200" i="0" dirty="0">
                <a:effectLst/>
                <a:latin typeface="+mj-lt"/>
              </a:rPr>
              <a:t>(IRU &amp; </a:t>
            </a:r>
            <a:r>
              <a:rPr lang="it-IT" sz="1200" dirty="0" err="1">
                <a:latin typeface="+mj-lt"/>
              </a:rPr>
              <a:t>L</a:t>
            </a:r>
            <a:r>
              <a:rPr lang="it-IT" sz="1200" i="0" dirty="0" err="1">
                <a:effectLst/>
                <a:latin typeface="+mj-lt"/>
              </a:rPr>
              <a:t>eased</a:t>
            </a:r>
            <a:r>
              <a:rPr lang="it-IT" sz="1200" i="0" dirty="0">
                <a:effectLst/>
                <a:latin typeface="+mj-lt"/>
              </a:rPr>
              <a:t> from Wholesale partners)</a:t>
            </a:r>
            <a:endParaRPr lang="it-IT" sz="1400" i="0" dirty="0">
              <a:effectLst/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endParaRPr lang="it-IT" sz="1600" b="0" i="0" dirty="0">
              <a:effectLst/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it-IT" sz="1600" b="0" i="0" dirty="0">
                <a:effectLst/>
                <a:latin typeface="+mj-lt"/>
              </a:rPr>
              <a:t>x40 Multi-degree </a:t>
            </a:r>
            <a:r>
              <a:rPr lang="it-IT" sz="1600" b="1" i="0" dirty="0">
                <a:effectLst/>
                <a:latin typeface="+mj-lt"/>
              </a:rPr>
              <a:t>ROADM</a:t>
            </a: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endParaRPr lang="it-IT" sz="1600" dirty="0"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it-IT" sz="1600" b="0" i="0" dirty="0">
                <a:effectLst/>
                <a:latin typeface="+mj-lt"/>
              </a:rPr>
              <a:t>Extended C-Band Spectrum (4,8 </a:t>
            </a:r>
            <a:r>
              <a:rPr lang="it-IT" sz="1600" b="0" i="0" dirty="0" err="1">
                <a:effectLst/>
                <a:latin typeface="+mj-lt"/>
              </a:rPr>
              <a:t>THz</a:t>
            </a:r>
            <a:r>
              <a:rPr lang="it-IT" sz="1600" b="0" i="0" dirty="0">
                <a:effectLst/>
                <a:latin typeface="+mj-lt"/>
              </a:rPr>
              <a:t>)</a:t>
            </a: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endParaRPr lang="it-IT" sz="1600" b="0" i="0" dirty="0">
              <a:effectLst/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it-IT" sz="1600" b="1" i="0" dirty="0">
                <a:effectLst/>
                <a:latin typeface="+mj-lt"/>
              </a:rPr>
              <a:t>47 Tb </a:t>
            </a:r>
            <a:r>
              <a:rPr lang="it-IT" sz="1600" i="0" dirty="0">
                <a:effectLst/>
                <a:latin typeface="+mj-lt"/>
              </a:rPr>
              <a:t>Optical </a:t>
            </a:r>
            <a:r>
              <a:rPr lang="it-IT" sz="1600" i="0" dirty="0" err="1">
                <a:effectLst/>
                <a:latin typeface="+mj-lt"/>
              </a:rPr>
              <a:t>capacity</a:t>
            </a:r>
            <a:r>
              <a:rPr lang="it-IT" sz="1600" i="0" dirty="0">
                <a:effectLst/>
                <a:latin typeface="+mj-lt"/>
              </a:rPr>
              <a:t> </a:t>
            </a:r>
            <a:r>
              <a:rPr lang="it-IT" sz="1600" i="0" dirty="0" err="1">
                <a:effectLst/>
                <a:latin typeface="+mj-lt"/>
              </a:rPr>
              <a:t>deployed</a:t>
            </a:r>
            <a:endParaRPr lang="it-IT" sz="1600" i="0" dirty="0">
              <a:effectLst/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endParaRPr lang="it-IT" sz="1600" b="1" dirty="0"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it-IT" sz="1600" b="1" i="0" dirty="0">
                <a:effectLst/>
                <a:latin typeface="+mj-lt"/>
              </a:rPr>
              <a:t>Optical </a:t>
            </a:r>
            <a:r>
              <a:rPr lang="it-IT" sz="1600" b="1" i="0" dirty="0" err="1">
                <a:effectLst/>
                <a:latin typeface="+mj-lt"/>
              </a:rPr>
              <a:t>Restoration</a:t>
            </a:r>
            <a:r>
              <a:rPr lang="it-IT" sz="1600" b="1" i="0" dirty="0">
                <a:effectLst/>
                <a:latin typeface="+mj-lt"/>
              </a:rPr>
              <a:t> </a:t>
            </a: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endParaRPr lang="it-IT" sz="1600" b="1" dirty="0"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endParaRPr lang="it-IT" sz="1600" b="1" i="0" dirty="0"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6997421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21" name="Rectangle 124">
            <a:extLst>
              <a:ext uri="{FF2B5EF4-FFF2-40B4-BE49-F238E27FC236}">
                <a16:creationId xmlns:a16="http://schemas.microsoft.com/office/drawing/2014/main" id="{49F6D400-983A-F923-AC1C-FDB2BCDB5956}"/>
              </a:ext>
            </a:extLst>
          </p:cNvPr>
          <p:cNvSpPr/>
          <p:nvPr/>
        </p:nvSpPr>
        <p:spPr>
          <a:xfrm>
            <a:off x="590525" y="1174680"/>
            <a:ext cx="10705548" cy="495453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–   IP Co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0DEC3B-4042-92E9-4FF6-DA2A0FD2D038}"/>
              </a:ext>
            </a:extLst>
          </p:cNvPr>
          <p:cNvSpPr txBox="1">
            <a:spLocks/>
          </p:cNvSpPr>
          <p:nvPr/>
        </p:nvSpPr>
        <p:spPr>
          <a:xfrm>
            <a:off x="5412160" y="965639"/>
            <a:ext cx="1321149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IP Core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07B8983-D961-3F42-D01D-1F2115F12B43}"/>
              </a:ext>
            </a:extLst>
          </p:cNvPr>
          <p:cNvSpPr txBox="1"/>
          <p:nvPr/>
        </p:nvSpPr>
        <p:spPr>
          <a:xfrm>
            <a:off x="969818" y="4779100"/>
            <a:ext cx="996553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en-US" sz="1800" b="0" i="0" dirty="0">
                <a:effectLst/>
                <a:latin typeface="+mj-lt"/>
              </a:rPr>
              <a:t>The Sky </a:t>
            </a:r>
            <a:r>
              <a:rPr lang="en-US" sz="1800" b="0" i="0" dirty="0" err="1">
                <a:effectLst/>
                <a:latin typeface="+mj-lt"/>
              </a:rPr>
              <a:t>WiFi</a:t>
            </a:r>
            <a:r>
              <a:rPr lang="en-US" sz="1800" b="0" i="0" dirty="0">
                <a:effectLst/>
                <a:latin typeface="+mj-lt"/>
              </a:rPr>
              <a:t> Network </a:t>
            </a:r>
            <a:r>
              <a:rPr lang="en-US" sz="1800" b="0" i="0" dirty="0" err="1">
                <a:effectLst/>
                <a:latin typeface="+mj-lt"/>
              </a:rPr>
              <a:t>Supercore</a:t>
            </a:r>
            <a:r>
              <a:rPr lang="en-US" sz="1800" b="0" i="0" dirty="0">
                <a:effectLst/>
                <a:latin typeface="+mj-lt"/>
              </a:rPr>
              <a:t> is a full mesh topology between the Milan and Rome Super POPs comprising dual Plane of MPLS PRs (Provider Routers).</a:t>
            </a:r>
          </a:p>
          <a:p>
            <a:pPr fontAlgn="ctr"/>
            <a:endParaRPr lang="en-GB" sz="1800" dirty="0">
              <a:effectLst/>
              <a:latin typeface="Sky Text" panose="020B050604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ctr"/>
            <a:r>
              <a:rPr lang="en-GB" sz="1800" dirty="0">
                <a:effectLst/>
                <a:latin typeface="Sky Text" panose="020B050604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ky </a:t>
            </a:r>
            <a:r>
              <a:rPr lang="en-GB" sz="1800" dirty="0" err="1">
                <a:effectLst/>
                <a:latin typeface="Sky Text" panose="020B050604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Fi</a:t>
            </a:r>
            <a:r>
              <a:rPr lang="en-GB" sz="1800" dirty="0">
                <a:effectLst/>
                <a:latin typeface="Sky Text" panose="020B050604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P Network supports both IPv4 and IPv6 for all platforms and services.</a:t>
            </a:r>
          </a:p>
        </p:txBody>
      </p:sp>
      <p:sp>
        <p:nvSpPr>
          <p:cNvPr id="11" name="Rectangle 124">
            <a:extLst>
              <a:ext uri="{FF2B5EF4-FFF2-40B4-BE49-F238E27FC236}">
                <a16:creationId xmlns:a16="http://schemas.microsoft.com/office/drawing/2014/main" id="{2F71217E-4011-73FF-8242-DE20B3A1975F}"/>
              </a:ext>
            </a:extLst>
          </p:cNvPr>
          <p:cNvSpPr/>
          <p:nvPr/>
        </p:nvSpPr>
        <p:spPr>
          <a:xfrm>
            <a:off x="9337458" y="1383721"/>
            <a:ext cx="1776655" cy="3245595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271067A-49F9-108E-8603-BB275F03E36F}"/>
              </a:ext>
            </a:extLst>
          </p:cNvPr>
          <p:cNvSpPr txBox="1"/>
          <p:nvPr/>
        </p:nvSpPr>
        <p:spPr>
          <a:xfrm>
            <a:off x="9439564" y="1961228"/>
            <a:ext cx="149578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en-US" sz="1800" dirty="0">
                <a:latin typeface="+mj-lt"/>
              </a:rPr>
              <a:t>IGP: ISIS </a:t>
            </a:r>
          </a:p>
          <a:p>
            <a:pPr fontAlgn="ctr"/>
            <a:endParaRPr lang="en-US" sz="1800" dirty="0">
              <a:latin typeface="+mj-lt"/>
            </a:endParaRPr>
          </a:p>
          <a:p>
            <a:pPr fontAlgn="ctr"/>
            <a:r>
              <a:rPr lang="en-US" sz="1800" dirty="0">
                <a:latin typeface="+mj-lt"/>
              </a:rPr>
              <a:t>No BGP </a:t>
            </a:r>
          </a:p>
          <a:p>
            <a:pPr fontAlgn="ctr"/>
            <a:endParaRPr lang="en-US" sz="1800" dirty="0">
              <a:latin typeface="+mj-lt"/>
            </a:endParaRPr>
          </a:p>
          <a:p>
            <a:pPr fontAlgn="ctr"/>
            <a:r>
              <a:rPr lang="en-US" sz="1800" dirty="0">
                <a:latin typeface="+mj-lt"/>
              </a:rPr>
              <a:t>No LDP</a:t>
            </a:r>
          </a:p>
          <a:p>
            <a:pPr fontAlgn="ctr"/>
            <a:endParaRPr lang="en-US" sz="1800" dirty="0">
              <a:latin typeface="+mj-lt"/>
            </a:endParaRPr>
          </a:p>
          <a:p>
            <a:pPr fontAlgn="ctr"/>
            <a:r>
              <a:rPr lang="en-US" sz="1800" dirty="0">
                <a:latin typeface="+mj-lt"/>
              </a:rPr>
              <a:t>SR + MPLS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D301DE23-7CC7-F7A9-D70E-7689D0D6D451}"/>
              </a:ext>
            </a:extLst>
          </p:cNvPr>
          <p:cNvSpPr txBox="1">
            <a:spLocks/>
          </p:cNvSpPr>
          <p:nvPr/>
        </p:nvSpPr>
        <p:spPr>
          <a:xfrm>
            <a:off x="9787131" y="1229585"/>
            <a:ext cx="833041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PRs</a:t>
            </a:r>
          </a:p>
        </p:txBody>
      </p:sp>
      <p:sp>
        <p:nvSpPr>
          <p:cNvPr id="2" name="Rectangle 124">
            <a:extLst>
              <a:ext uri="{FF2B5EF4-FFF2-40B4-BE49-F238E27FC236}">
                <a16:creationId xmlns:a16="http://schemas.microsoft.com/office/drawing/2014/main" id="{5675ECDD-AF13-4358-10F1-D0096468F145}"/>
              </a:ext>
            </a:extLst>
          </p:cNvPr>
          <p:cNvSpPr/>
          <p:nvPr/>
        </p:nvSpPr>
        <p:spPr>
          <a:xfrm>
            <a:off x="800289" y="1383721"/>
            <a:ext cx="8355209" cy="3245595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F9DBCD19-E28B-5212-BA56-4D6251EB1B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02" y="1383721"/>
            <a:ext cx="3998842" cy="3272421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9DBA7D81-738D-5F62-455D-D63C0072D7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0527" y="1387184"/>
            <a:ext cx="4311963" cy="3035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46613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21" name="Rectangle 124">
            <a:extLst>
              <a:ext uri="{FF2B5EF4-FFF2-40B4-BE49-F238E27FC236}">
                <a16:creationId xmlns:a16="http://schemas.microsoft.com/office/drawing/2014/main" id="{49F6D400-983A-F923-AC1C-FDB2BCDB5956}"/>
              </a:ext>
            </a:extLst>
          </p:cNvPr>
          <p:cNvSpPr/>
          <p:nvPr/>
        </p:nvSpPr>
        <p:spPr>
          <a:xfrm>
            <a:off x="667687" y="1174680"/>
            <a:ext cx="10443657" cy="495453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–   IP Co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0DEC3B-4042-92E9-4FF6-DA2A0FD2D038}"/>
              </a:ext>
            </a:extLst>
          </p:cNvPr>
          <p:cNvSpPr txBox="1">
            <a:spLocks/>
          </p:cNvSpPr>
          <p:nvPr/>
        </p:nvSpPr>
        <p:spPr>
          <a:xfrm>
            <a:off x="4562763" y="994898"/>
            <a:ext cx="2170545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Satellite POPs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0059761E-CFE5-718C-19BF-56995B7931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761" y="1320800"/>
            <a:ext cx="4131930" cy="4671512"/>
          </a:xfrm>
          <a:prstGeom prst="rect">
            <a:avLst/>
          </a:prstGeom>
        </p:spPr>
      </p:pic>
      <p:sp>
        <p:nvSpPr>
          <p:cNvPr id="2" name="Rectangle 124">
            <a:extLst>
              <a:ext uri="{FF2B5EF4-FFF2-40B4-BE49-F238E27FC236}">
                <a16:creationId xmlns:a16="http://schemas.microsoft.com/office/drawing/2014/main" id="{2D1EBBEB-E794-8F1F-BDF8-3A8937487204}"/>
              </a:ext>
            </a:extLst>
          </p:cNvPr>
          <p:cNvSpPr/>
          <p:nvPr/>
        </p:nvSpPr>
        <p:spPr>
          <a:xfrm>
            <a:off x="6775507" y="1705238"/>
            <a:ext cx="2873656" cy="2469197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517392C1-917E-5705-B0E6-9D14718D311B}"/>
              </a:ext>
            </a:extLst>
          </p:cNvPr>
          <p:cNvSpPr txBox="1">
            <a:spLocks/>
          </p:cNvSpPr>
          <p:nvPr/>
        </p:nvSpPr>
        <p:spPr>
          <a:xfrm>
            <a:off x="7195930" y="1510531"/>
            <a:ext cx="2077279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PEs Routing Protocols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165A8325-A1FA-096D-C426-A8E51F93D94C}"/>
              </a:ext>
            </a:extLst>
          </p:cNvPr>
          <p:cNvSpPr txBox="1"/>
          <p:nvPr/>
        </p:nvSpPr>
        <p:spPr>
          <a:xfrm>
            <a:off x="7681456" y="2035861"/>
            <a:ext cx="1495785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r>
              <a:rPr lang="en-US" sz="1800" dirty="0">
                <a:latin typeface="+mj-lt"/>
              </a:rPr>
              <a:t>IGP: ISIS </a:t>
            </a:r>
          </a:p>
          <a:p>
            <a:pPr fontAlgn="ctr"/>
            <a:endParaRPr lang="en-US" sz="1800" dirty="0">
              <a:latin typeface="+mj-lt"/>
            </a:endParaRPr>
          </a:p>
          <a:p>
            <a:pPr fontAlgn="ctr"/>
            <a:r>
              <a:rPr lang="en-US" sz="1800" dirty="0">
                <a:latin typeface="+mj-lt"/>
              </a:rPr>
              <a:t>BGP </a:t>
            </a:r>
          </a:p>
          <a:p>
            <a:pPr fontAlgn="ctr"/>
            <a:endParaRPr lang="en-US" sz="1800" dirty="0">
              <a:latin typeface="+mj-lt"/>
            </a:endParaRPr>
          </a:p>
          <a:p>
            <a:pPr fontAlgn="ctr"/>
            <a:r>
              <a:rPr lang="en-US" sz="1800" dirty="0">
                <a:latin typeface="+mj-lt"/>
              </a:rPr>
              <a:t>SR + MPLS</a:t>
            </a:r>
          </a:p>
          <a:p>
            <a:pPr fontAlgn="ctr"/>
            <a:endParaRPr lang="en-US" sz="1800" dirty="0">
              <a:latin typeface="+mj-lt"/>
            </a:endParaRPr>
          </a:p>
          <a:p>
            <a:pPr fontAlgn="ctr"/>
            <a:r>
              <a:rPr lang="en-US" sz="1800" dirty="0">
                <a:latin typeface="+mj-lt"/>
              </a:rPr>
              <a:t>6PE</a:t>
            </a:r>
          </a:p>
        </p:txBody>
      </p:sp>
      <p:sp>
        <p:nvSpPr>
          <p:cNvPr id="9" name="Rectangle 124">
            <a:extLst>
              <a:ext uri="{FF2B5EF4-FFF2-40B4-BE49-F238E27FC236}">
                <a16:creationId xmlns:a16="http://schemas.microsoft.com/office/drawing/2014/main" id="{7169142F-A036-4C85-8BE1-5C133DE0121D}"/>
              </a:ext>
            </a:extLst>
          </p:cNvPr>
          <p:cNvSpPr/>
          <p:nvPr/>
        </p:nvSpPr>
        <p:spPr>
          <a:xfrm>
            <a:off x="6781949" y="4369142"/>
            <a:ext cx="2873657" cy="1543496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8416B66F-8247-5E9E-0732-F3F1EED56BF9}"/>
              </a:ext>
            </a:extLst>
          </p:cNvPr>
          <p:cNvSpPr txBox="1"/>
          <p:nvPr/>
        </p:nvSpPr>
        <p:spPr>
          <a:xfrm>
            <a:off x="7007087" y="4471439"/>
            <a:ext cx="256429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ctr"/>
            <a:endParaRPr lang="en-US" sz="1800" dirty="0">
              <a:latin typeface="+mj-lt"/>
            </a:endParaRPr>
          </a:p>
          <a:p>
            <a:pPr fontAlgn="ctr"/>
            <a:r>
              <a:rPr lang="en-US" sz="1800" dirty="0">
                <a:latin typeface="+mj-lt"/>
              </a:rPr>
              <a:t>Each Satellite POPs is directly connected both Milan and Rom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02976A7-4E24-E3B9-66FC-259A1D69F145}"/>
              </a:ext>
            </a:extLst>
          </p:cNvPr>
          <p:cNvSpPr txBox="1">
            <a:spLocks/>
          </p:cNvSpPr>
          <p:nvPr/>
        </p:nvSpPr>
        <p:spPr>
          <a:xfrm>
            <a:off x="7173695" y="4276732"/>
            <a:ext cx="2077279" cy="27212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Dual HUB Network</a:t>
            </a:r>
          </a:p>
        </p:txBody>
      </p:sp>
    </p:spTree>
    <p:extLst>
      <p:ext uri="{BB962C8B-B14F-4D97-AF65-F5344CB8AC3E}">
        <p14:creationId xmlns:p14="http://schemas.microsoft.com/office/powerpoint/2010/main" val="206609363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E4ED39-6503-71A6-747D-CDB64A3879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21" name="Rectangle 124">
            <a:extLst>
              <a:ext uri="{FF2B5EF4-FFF2-40B4-BE49-F238E27FC236}">
                <a16:creationId xmlns:a16="http://schemas.microsoft.com/office/drawing/2014/main" id="{4635A994-88D6-1DD0-6E8C-C8144B1D94F7}"/>
              </a:ext>
            </a:extLst>
          </p:cNvPr>
          <p:cNvSpPr/>
          <p:nvPr/>
        </p:nvSpPr>
        <p:spPr>
          <a:xfrm>
            <a:off x="484594" y="1165624"/>
            <a:ext cx="10674566" cy="5122274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AC6880B6-8B6B-9CB8-F93F-6E26BD8B8180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–   IP + Optica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FD0761-A787-5F2F-B266-66E12234F13E}"/>
              </a:ext>
            </a:extLst>
          </p:cNvPr>
          <p:cNvSpPr txBox="1">
            <a:spLocks/>
          </p:cNvSpPr>
          <p:nvPr/>
        </p:nvSpPr>
        <p:spPr>
          <a:xfrm>
            <a:off x="3913225" y="946066"/>
            <a:ext cx="3432710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TI-LFA + Optical Restoration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27DCCE73-0AB8-8782-CF8E-18E11B0C4A78}"/>
              </a:ext>
            </a:extLst>
          </p:cNvPr>
          <p:cNvSpPr txBox="1"/>
          <p:nvPr/>
        </p:nvSpPr>
        <p:spPr>
          <a:xfrm>
            <a:off x="660945" y="4620956"/>
            <a:ext cx="997934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it-IT" sz="1800" b="0" i="0" dirty="0">
                <a:effectLst/>
                <a:latin typeface="+mj-lt"/>
              </a:rPr>
              <a:t> 8500 Km of </a:t>
            </a:r>
            <a:r>
              <a:rPr lang="it-IT" sz="1800" b="1" i="0" dirty="0">
                <a:effectLst/>
                <a:latin typeface="+mj-lt"/>
              </a:rPr>
              <a:t>Dark Fiber</a:t>
            </a:r>
            <a:r>
              <a:rPr lang="it-IT" sz="1800" i="0" dirty="0">
                <a:effectLst/>
                <a:latin typeface="+mj-lt"/>
              </a:rPr>
              <a:t>: </a:t>
            </a:r>
            <a:r>
              <a:rPr lang="it-IT" sz="1800" dirty="0">
                <a:latin typeface="+mj-lt"/>
              </a:rPr>
              <a:t>multiple </a:t>
            </a:r>
            <a:r>
              <a:rPr lang="it-IT" sz="1800" dirty="0" err="1">
                <a:latin typeface="+mj-lt"/>
              </a:rPr>
              <a:t>fiber</a:t>
            </a:r>
            <a:r>
              <a:rPr lang="it-IT" sz="1800" dirty="0">
                <a:latin typeface="+mj-lt"/>
              </a:rPr>
              <a:t> </a:t>
            </a:r>
            <a:r>
              <a:rPr lang="it-IT" sz="1800" dirty="0" err="1">
                <a:latin typeface="+mj-lt"/>
              </a:rPr>
              <a:t>cuts</a:t>
            </a:r>
            <a:r>
              <a:rPr lang="it-IT" sz="1800" dirty="0">
                <a:latin typeface="+mj-lt"/>
              </a:rPr>
              <a:t> and site </a:t>
            </a:r>
            <a:r>
              <a:rPr lang="it-IT" sz="1800" dirty="0" err="1">
                <a:latin typeface="+mj-lt"/>
              </a:rPr>
              <a:t>isolation</a:t>
            </a:r>
            <a:r>
              <a:rPr lang="it-IT" sz="1800" dirty="0">
                <a:latin typeface="+mj-lt"/>
              </a:rPr>
              <a:t> are </a:t>
            </a:r>
            <a:r>
              <a:rPr lang="it-IT" sz="1800" dirty="0" err="1">
                <a:latin typeface="+mj-lt"/>
              </a:rPr>
              <a:t>not</a:t>
            </a:r>
            <a:r>
              <a:rPr lang="it-IT" sz="1800" dirty="0">
                <a:latin typeface="+mj-lt"/>
              </a:rPr>
              <a:t> </a:t>
            </a:r>
            <a:r>
              <a:rPr lang="it-IT" sz="1800" dirty="0" err="1">
                <a:latin typeface="+mj-lt"/>
              </a:rPr>
              <a:t>negligible</a:t>
            </a:r>
            <a:r>
              <a:rPr lang="it-IT" sz="1800" dirty="0">
                <a:latin typeface="+mj-lt"/>
              </a:rPr>
              <a:t>.</a:t>
            </a: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endParaRPr lang="it-IT" sz="1800" i="0" dirty="0">
              <a:effectLst/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it-IT" sz="1800" dirty="0">
                <a:latin typeface="+mj-lt"/>
              </a:rPr>
              <a:t>TI-LFA &lt; 50 </a:t>
            </a:r>
            <a:r>
              <a:rPr lang="it-IT" sz="1800" dirty="0" err="1">
                <a:latin typeface="+mj-lt"/>
              </a:rPr>
              <a:t>ms</a:t>
            </a:r>
            <a:r>
              <a:rPr lang="it-IT" sz="1800" dirty="0">
                <a:latin typeface="+mj-lt"/>
              </a:rPr>
              <a:t> 	Optical </a:t>
            </a:r>
            <a:r>
              <a:rPr lang="it-IT" sz="1800" dirty="0" err="1">
                <a:latin typeface="+mj-lt"/>
              </a:rPr>
              <a:t>Restoration</a:t>
            </a:r>
            <a:r>
              <a:rPr lang="it-IT" sz="1800" dirty="0">
                <a:latin typeface="+mj-lt"/>
              </a:rPr>
              <a:t> ˜10 min	MTTR &lt; 15 min</a:t>
            </a: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endParaRPr lang="it-IT" sz="1800" i="0" dirty="0">
              <a:effectLst/>
              <a:latin typeface="+mj-lt"/>
            </a:endParaRPr>
          </a:p>
          <a:p>
            <a:pPr marL="0" rtl="0" fontAlgn="ctr">
              <a:spcBef>
                <a:spcPts val="0"/>
              </a:spcBef>
              <a:spcAft>
                <a:spcPts val="0"/>
              </a:spcAft>
            </a:pPr>
            <a:r>
              <a:rPr lang="it-IT" sz="1800" dirty="0">
                <a:latin typeface="+mj-lt"/>
              </a:rPr>
              <a:t>2 IP Core </a:t>
            </a:r>
            <a:r>
              <a:rPr lang="it-IT" sz="1800" dirty="0" err="1">
                <a:latin typeface="+mj-lt"/>
              </a:rPr>
              <a:t>redundant</a:t>
            </a:r>
            <a:r>
              <a:rPr lang="it-IT" sz="1800" dirty="0">
                <a:latin typeface="+mj-lt"/>
              </a:rPr>
              <a:t> links + multi Optical </a:t>
            </a:r>
            <a:r>
              <a:rPr lang="it-IT" sz="1800" dirty="0" err="1">
                <a:latin typeface="+mj-lt"/>
              </a:rPr>
              <a:t>Paths</a:t>
            </a:r>
            <a:r>
              <a:rPr lang="it-IT" sz="1800" dirty="0">
                <a:latin typeface="+mj-lt"/>
              </a:rPr>
              <a:t> (</a:t>
            </a:r>
            <a:r>
              <a:rPr lang="it-IT" sz="1800" dirty="0" err="1">
                <a:latin typeface="+mj-lt"/>
              </a:rPr>
              <a:t>at</a:t>
            </a:r>
            <a:r>
              <a:rPr lang="it-IT" sz="1800" dirty="0">
                <a:latin typeface="+mj-lt"/>
              </a:rPr>
              <a:t> </a:t>
            </a:r>
            <a:r>
              <a:rPr lang="it-IT" sz="1800" dirty="0" err="1">
                <a:latin typeface="+mj-lt"/>
              </a:rPr>
              <a:t>least</a:t>
            </a:r>
            <a:r>
              <a:rPr lang="it-IT" sz="1800" dirty="0">
                <a:latin typeface="+mj-lt"/>
              </a:rPr>
              <a:t> 3 or more)</a:t>
            </a:r>
            <a:endParaRPr lang="it-IT" sz="1800" b="1" i="0" dirty="0">
              <a:effectLst/>
              <a:latin typeface="+mj-lt"/>
            </a:endParaRPr>
          </a:p>
        </p:txBody>
      </p:sp>
      <p:pic>
        <p:nvPicPr>
          <p:cNvPr id="13734" name="Immagine 13733">
            <a:extLst>
              <a:ext uri="{FF2B5EF4-FFF2-40B4-BE49-F238E27FC236}">
                <a16:creationId xmlns:a16="http://schemas.microsoft.com/office/drawing/2014/main" id="{B9FFBE0E-EDF7-8BE8-BECB-F6E2DFD123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3353" y="1259247"/>
            <a:ext cx="2318631" cy="3229675"/>
          </a:xfrm>
          <a:prstGeom prst="rect">
            <a:avLst/>
          </a:prstGeom>
        </p:spPr>
      </p:pic>
      <p:pic>
        <p:nvPicPr>
          <p:cNvPr id="13735" name="Immagine 13734">
            <a:extLst>
              <a:ext uri="{FF2B5EF4-FFF2-40B4-BE49-F238E27FC236}">
                <a16:creationId xmlns:a16="http://schemas.microsoft.com/office/drawing/2014/main" id="{77B930CC-A060-6395-FE17-6E941040ED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5377" y="1262323"/>
            <a:ext cx="2314214" cy="3223523"/>
          </a:xfrm>
          <a:prstGeom prst="rect">
            <a:avLst/>
          </a:prstGeom>
        </p:spPr>
      </p:pic>
      <p:pic>
        <p:nvPicPr>
          <p:cNvPr id="13736" name="Immagine 13735">
            <a:extLst>
              <a:ext uri="{FF2B5EF4-FFF2-40B4-BE49-F238E27FC236}">
                <a16:creationId xmlns:a16="http://schemas.microsoft.com/office/drawing/2014/main" id="{0F4AB673-C3AE-D4CB-A0B9-AF4E2B2D62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92984" y="1239231"/>
            <a:ext cx="2342999" cy="3269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47035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24">
            <a:extLst>
              <a:ext uri="{FF2B5EF4-FFF2-40B4-BE49-F238E27FC236}">
                <a16:creationId xmlns:a16="http://schemas.microsoft.com/office/drawing/2014/main" id="{40513FCE-E61A-14EA-32B2-39A93E300061}"/>
              </a:ext>
            </a:extLst>
          </p:cNvPr>
          <p:cNvSpPr/>
          <p:nvPr/>
        </p:nvSpPr>
        <p:spPr>
          <a:xfrm>
            <a:off x="406400" y="5278215"/>
            <a:ext cx="10802873" cy="1115817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13" name="Rectangle 124">
            <a:extLst>
              <a:ext uri="{FF2B5EF4-FFF2-40B4-BE49-F238E27FC236}">
                <a16:creationId xmlns:a16="http://schemas.microsoft.com/office/drawing/2014/main" id="{BBCB0944-181E-8669-0D51-C6CC32C91A70}"/>
              </a:ext>
            </a:extLst>
          </p:cNvPr>
          <p:cNvSpPr/>
          <p:nvPr/>
        </p:nvSpPr>
        <p:spPr>
          <a:xfrm>
            <a:off x="5916780" y="849746"/>
            <a:ext cx="5292493" cy="4337406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12" name="Rectangle 124">
            <a:extLst>
              <a:ext uri="{FF2B5EF4-FFF2-40B4-BE49-F238E27FC236}">
                <a16:creationId xmlns:a16="http://schemas.microsoft.com/office/drawing/2014/main" id="{90B7BD3A-5FB9-FD40-8107-19F44307E2A8}"/>
              </a:ext>
            </a:extLst>
          </p:cNvPr>
          <p:cNvSpPr/>
          <p:nvPr/>
        </p:nvSpPr>
        <p:spPr>
          <a:xfrm>
            <a:off x="406400" y="849746"/>
            <a:ext cx="5292493" cy="4337406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</a:t>
            </a:r>
            <a:r>
              <a:rPr lang="en-AU" sz="2799" dirty="0" err="1"/>
              <a:t>WiFi</a:t>
            </a:r>
            <a:r>
              <a:rPr lang="en-AU" sz="2799" dirty="0"/>
              <a:t> - FTTH / FTTC Access Network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62630984-43D8-1708-F059-2C4CE2DA6F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5746" y="930230"/>
            <a:ext cx="4963614" cy="3550975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9D552198-5F3A-ECC8-71D0-F5ACD4DEC8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844" y="1057194"/>
            <a:ext cx="4563575" cy="3493879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1D9C7547-EB25-4896-E64A-20CD09B6FED3}"/>
              </a:ext>
            </a:extLst>
          </p:cNvPr>
          <p:cNvSpPr txBox="1"/>
          <p:nvPr/>
        </p:nvSpPr>
        <p:spPr>
          <a:xfrm>
            <a:off x="1080655" y="4436776"/>
            <a:ext cx="7019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latin typeface="+mj-lt"/>
              </a:rPr>
              <a:t>FTTH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46850ECB-4B24-FACF-B763-85B1956B7F23}"/>
              </a:ext>
            </a:extLst>
          </p:cNvPr>
          <p:cNvSpPr txBox="1"/>
          <p:nvPr/>
        </p:nvSpPr>
        <p:spPr>
          <a:xfrm>
            <a:off x="2853631" y="4436776"/>
            <a:ext cx="7019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latin typeface="+mj-lt"/>
              </a:rPr>
              <a:t>FTTH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15540588-DA3C-0BFC-0BF8-3286CCF711F5}"/>
              </a:ext>
            </a:extLst>
          </p:cNvPr>
          <p:cNvSpPr txBox="1"/>
          <p:nvPr/>
        </p:nvSpPr>
        <p:spPr>
          <a:xfrm>
            <a:off x="4143804" y="4432726"/>
            <a:ext cx="9656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latin typeface="+mj-lt"/>
              </a:rPr>
              <a:t>FTTC/H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5AAE007-EDAC-18B4-6E23-3271EE932668}"/>
              </a:ext>
            </a:extLst>
          </p:cNvPr>
          <p:cNvSpPr txBox="1"/>
          <p:nvPr/>
        </p:nvSpPr>
        <p:spPr>
          <a:xfrm>
            <a:off x="8312727" y="4432726"/>
            <a:ext cx="7019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latin typeface="+mj-lt"/>
              </a:rPr>
              <a:t>FTTH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32C58EAE-FDBC-F70E-C92C-BA1421E4E99A}"/>
              </a:ext>
            </a:extLst>
          </p:cNvPr>
          <p:cNvSpPr txBox="1"/>
          <p:nvPr/>
        </p:nvSpPr>
        <p:spPr>
          <a:xfrm>
            <a:off x="6451600" y="4436776"/>
            <a:ext cx="7019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latin typeface="+mj-lt"/>
              </a:rPr>
              <a:t>FTTH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09DB1C43-A93E-C4A4-3191-8948A291A007}"/>
              </a:ext>
            </a:extLst>
          </p:cNvPr>
          <p:cNvSpPr txBox="1"/>
          <p:nvPr/>
        </p:nvSpPr>
        <p:spPr>
          <a:xfrm>
            <a:off x="10040332" y="4432726"/>
            <a:ext cx="9656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>
                <a:latin typeface="+mj-lt"/>
              </a:rPr>
              <a:t>FTTC/H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94287E67-D71E-98F1-DC6E-A3897A68882E}"/>
              </a:ext>
            </a:extLst>
          </p:cNvPr>
          <p:cNvSpPr txBox="1"/>
          <p:nvPr/>
        </p:nvSpPr>
        <p:spPr>
          <a:xfrm>
            <a:off x="495365" y="5328927"/>
            <a:ext cx="1060674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b="1" dirty="0">
                <a:latin typeface="Sky Text" panose="020B0506040202020204" pitchFamily="34" charset="0"/>
              </a:rPr>
              <a:t>Control </a:t>
            </a:r>
            <a:r>
              <a:rPr lang="it-IT" sz="1800" b="1" dirty="0" err="1">
                <a:latin typeface="Sky Text" panose="020B0506040202020204" pitchFamily="34" charset="0"/>
              </a:rPr>
              <a:t>Plane</a:t>
            </a:r>
            <a:r>
              <a:rPr lang="it-IT" sz="1800" b="1" dirty="0">
                <a:latin typeface="Sky Text" panose="020B0506040202020204" pitchFamily="34" charset="0"/>
              </a:rPr>
              <a:t> EVPN </a:t>
            </a:r>
            <a:r>
              <a:rPr lang="it-IT" sz="1800" dirty="0">
                <a:latin typeface="Sky Text" panose="020B0506040202020204" pitchFamily="34" charset="0"/>
              </a:rPr>
              <a:t>+ </a:t>
            </a:r>
            <a:r>
              <a:rPr lang="it-IT" sz="1800" b="1" dirty="0">
                <a:latin typeface="Sky Text" panose="020B0506040202020204" pitchFamily="34" charset="0"/>
              </a:rPr>
              <a:t>Data </a:t>
            </a:r>
            <a:r>
              <a:rPr lang="it-IT" sz="1800" b="1" dirty="0" err="1">
                <a:latin typeface="Sky Text" panose="020B0506040202020204" pitchFamily="34" charset="0"/>
              </a:rPr>
              <a:t>Plane</a:t>
            </a:r>
            <a:r>
              <a:rPr lang="it-IT" sz="1800" b="1" dirty="0">
                <a:latin typeface="Sky Text" panose="020B0506040202020204" pitchFamily="34" charset="0"/>
              </a:rPr>
              <a:t> MPLS</a:t>
            </a:r>
            <a:r>
              <a:rPr lang="it-IT" sz="1800" dirty="0">
                <a:latin typeface="Sky Text" panose="020B0506040202020204" pitchFamily="34" charset="0"/>
              </a:rPr>
              <a:t>. </a:t>
            </a:r>
            <a:r>
              <a:rPr lang="it-IT" sz="1800" dirty="0" err="1">
                <a:latin typeface="Sky Text" panose="020B0506040202020204" pitchFamily="34" charset="0"/>
              </a:rPr>
              <a:t>It’s</a:t>
            </a:r>
            <a:r>
              <a:rPr lang="it-IT" sz="1800" dirty="0">
                <a:latin typeface="Sky Text" panose="020B0506040202020204" pitchFamily="34" charset="0"/>
              </a:rPr>
              <a:t> a </a:t>
            </a:r>
            <a:r>
              <a:rPr lang="it-IT" sz="1800" dirty="0" err="1">
                <a:latin typeface="Sky Text" panose="020B0506040202020204" pitchFamily="34" charset="0"/>
              </a:rPr>
              <a:t>multihoming</a:t>
            </a:r>
            <a:r>
              <a:rPr lang="it-IT" sz="1800" dirty="0">
                <a:latin typeface="Sky Text" panose="020B0506040202020204" pitchFamily="34" charset="0"/>
              </a:rPr>
              <a:t> single </a:t>
            </a:r>
            <a:r>
              <a:rPr lang="it-IT" sz="1800" dirty="0" err="1">
                <a:latin typeface="Sky Text" panose="020B0506040202020204" pitchFamily="34" charset="0"/>
              </a:rPr>
              <a:t>active</a:t>
            </a:r>
            <a:r>
              <a:rPr lang="it-IT" sz="1800" dirty="0">
                <a:latin typeface="Sky Text" panose="020B0506040202020204" pitchFamily="34" charset="0"/>
              </a:rPr>
              <a:t> EVPN VPWS </a:t>
            </a:r>
            <a:r>
              <a:rPr lang="it-IT" sz="1800" dirty="0" err="1">
                <a:latin typeface="Sky Text" panose="020B0506040202020204" pitchFamily="34" charset="0"/>
              </a:rPr>
              <a:t>architecture</a:t>
            </a:r>
            <a:r>
              <a:rPr lang="it-IT" sz="1800" dirty="0">
                <a:latin typeface="Sky Text" panose="020B0506040202020204" pitchFamily="34" charset="0"/>
              </a:rPr>
              <a:t>. </a:t>
            </a:r>
            <a:r>
              <a:rPr lang="it-IT" sz="1800" dirty="0" err="1">
                <a:latin typeface="Sky Text" panose="020B0506040202020204" pitchFamily="34" charset="0"/>
              </a:rPr>
              <a:t>Each</a:t>
            </a:r>
            <a:r>
              <a:rPr lang="it-IT" sz="1800" dirty="0">
                <a:latin typeface="Sky Text" panose="020B0506040202020204" pitchFamily="34" charset="0"/>
              </a:rPr>
              <a:t> MA </a:t>
            </a:r>
            <a:r>
              <a:rPr lang="it-IT" sz="1800" dirty="0" err="1">
                <a:latin typeface="Sky Text" panose="020B0506040202020204" pitchFamily="34" charset="0"/>
              </a:rPr>
              <a:t>forward</a:t>
            </a:r>
            <a:r>
              <a:rPr lang="it-IT" sz="1800" dirty="0">
                <a:latin typeface="Sky Text" panose="020B0506040202020204" pitchFamily="34" charset="0"/>
              </a:rPr>
              <a:t> </a:t>
            </a:r>
            <a:r>
              <a:rPr lang="it-IT" sz="1800" dirty="0" err="1">
                <a:latin typeface="Sky Text" panose="020B0506040202020204" pitchFamily="34" charset="0"/>
              </a:rPr>
              <a:t>traffic</a:t>
            </a:r>
            <a:r>
              <a:rPr lang="it-IT" sz="1800" dirty="0">
                <a:latin typeface="Sky Text" panose="020B0506040202020204" pitchFamily="34" charset="0"/>
              </a:rPr>
              <a:t> to the </a:t>
            </a:r>
            <a:r>
              <a:rPr lang="it-IT" sz="1800" dirty="0" err="1">
                <a:latin typeface="Sky Text" panose="020B0506040202020204" pitchFamily="34" charset="0"/>
              </a:rPr>
              <a:t>active</a:t>
            </a:r>
            <a:r>
              <a:rPr lang="it-IT" sz="1800" dirty="0">
                <a:latin typeface="Sky Text" panose="020B0506040202020204" pitchFamily="34" charset="0"/>
              </a:rPr>
              <a:t> BNG via the </a:t>
            </a:r>
            <a:r>
              <a:rPr lang="it-IT" sz="1800" dirty="0" err="1">
                <a:latin typeface="Sky Text" panose="020B0506040202020204" pitchFamily="34" charset="0"/>
              </a:rPr>
              <a:t>active</a:t>
            </a:r>
            <a:r>
              <a:rPr lang="it-IT" sz="1800" dirty="0">
                <a:latin typeface="Sky Text" panose="020B0506040202020204" pitchFamily="34" charset="0"/>
              </a:rPr>
              <a:t> VPWS. A backup VPWS </a:t>
            </a:r>
            <a:r>
              <a:rPr lang="it-IT" sz="1800" dirty="0" err="1">
                <a:latin typeface="Sky Text" panose="020B0506040202020204" pitchFamily="34" charset="0"/>
              </a:rPr>
              <a:t>towards</a:t>
            </a:r>
            <a:r>
              <a:rPr lang="it-IT" sz="1800" dirty="0">
                <a:latin typeface="Sky Text" panose="020B0506040202020204" pitchFamily="34" charset="0"/>
              </a:rPr>
              <a:t> second BNG </a:t>
            </a:r>
            <a:r>
              <a:rPr lang="it-IT" sz="1800" dirty="0" err="1">
                <a:latin typeface="Sky Text" panose="020B0506040202020204" pitchFamily="34" charset="0"/>
              </a:rPr>
              <a:t>will</a:t>
            </a:r>
            <a:r>
              <a:rPr lang="it-IT" sz="1800" dirty="0">
                <a:latin typeface="Sky Text" panose="020B0506040202020204" pitchFamily="34" charset="0"/>
              </a:rPr>
              <a:t> </a:t>
            </a:r>
            <a:r>
              <a:rPr lang="it-IT" sz="1800" dirty="0" err="1">
                <a:latin typeface="Sky Text" panose="020B0506040202020204" pitchFamily="34" charset="0"/>
              </a:rPr>
              <a:t>ensure</a:t>
            </a:r>
            <a:r>
              <a:rPr lang="it-IT" sz="1800" dirty="0">
                <a:latin typeface="Sky Text" panose="020B0506040202020204" pitchFamily="34" charset="0"/>
              </a:rPr>
              <a:t> </a:t>
            </a:r>
            <a:r>
              <a:rPr lang="it-IT" sz="1800" dirty="0" err="1">
                <a:latin typeface="Sky Text" panose="020B0506040202020204" pitchFamily="34" charset="0"/>
              </a:rPr>
              <a:t>redundancy</a:t>
            </a:r>
            <a:r>
              <a:rPr lang="it-IT" sz="1800" dirty="0">
                <a:latin typeface="Sky Text" panose="020B0506040202020204" pitchFamily="34" charset="0"/>
              </a:rPr>
              <a:t>.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1BC8F9B-86F2-B890-A02D-D6D093E27355}"/>
              </a:ext>
            </a:extLst>
          </p:cNvPr>
          <p:cNvSpPr txBox="1">
            <a:spLocks/>
          </p:cNvSpPr>
          <p:nvPr/>
        </p:nvSpPr>
        <p:spPr>
          <a:xfrm>
            <a:off x="2387796" y="697823"/>
            <a:ext cx="1633634" cy="349223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600" b="1" dirty="0">
                <a:latin typeface="Sky Text"/>
              </a:rPr>
              <a:t>Satellite POP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DB8DC320-548E-CA1E-C382-05E420540AF9}"/>
              </a:ext>
            </a:extLst>
          </p:cNvPr>
          <p:cNvSpPr txBox="1">
            <a:spLocks/>
          </p:cNvSpPr>
          <p:nvPr/>
        </p:nvSpPr>
        <p:spPr>
          <a:xfrm>
            <a:off x="7767410" y="649779"/>
            <a:ext cx="1633634" cy="349223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600" b="1" dirty="0">
                <a:latin typeface="Sky Text"/>
              </a:rPr>
              <a:t>Super POPs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3BD4EE56-AB64-B392-0A64-AAA11C859687}"/>
              </a:ext>
            </a:extLst>
          </p:cNvPr>
          <p:cNvSpPr txBox="1"/>
          <p:nvPr/>
        </p:nvSpPr>
        <p:spPr>
          <a:xfrm>
            <a:off x="1892278" y="4707415"/>
            <a:ext cx="22255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b="1" dirty="0">
                <a:latin typeface="Sky Text" panose="020B0506040202020204" pitchFamily="34" charset="0"/>
              </a:rPr>
              <a:t>Wholesale partners</a:t>
            </a:r>
            <a:endParaRPr lang="it-IT" sz="1800" dirty="0">
              <a:latin typeface="Sky Text" panose="020B0506040202020204" pitchFamily="34" charset="0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B0B2852B-1196-A45C-BC5A-2805A3BEBB0A}"/>
              </a:ext>
            </a:extLst>
          </p:cNvPr>
          <p:cNvSpPr txBox="1"/>
          <p:nvPr/>
        </p:nvSpPr>
        <p:spPr>
          <a:xfrm>
            <a:off x="7542459" y="4707415"/>
            <a:ext cx="22255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b="1" dirty="0">
                <a:latin typeface="Sky Text" panose="020B0506040202020204" pitchFamily="34" charset="0"/>
              </a:rPr>
              <a:t>Wholesale partners</a:t>
            </a:r>
            <a:endParaRPr lang="it-IT" sz="1800" dirty="0">
              <a:latin typeface="Sky Text" panose="020B0506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23553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124">
            <a:extLst>
              <a:ext uri="{FF2B5EF4-FFF2-40B4-BE49-F238E27FC236}">
                <a16:creationId xmlns:a16="http://schemas.microsoft.com/office/drawing/2014/main" id="{95E82BC7-8DCE-3320-1813-074CFA3010A9}"/>
              </a:ext>
            </a:extLst>
          </p:cNvPr>
          <p:cNvSpPr/>
          <p:nvPr/>
        </p:nvSpPr>
        <p:spPr>
          <a:xfrm>
            <a:off x="3053499" y="2929984"/>
            <a:ext cx="2765514" cy="1192244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33" name="Rectangle 124">
            <a:extLst>
              <a:ext uri="{FF2B5EF4-FFF2-40B4-BE49-F238E27FC236}">
                <a16:creationId xmlns:a16="http://schemas.microsoft.com/office/drawing/2014/main" id="{498DA34A-2224-0AEB-95F6-1AC95F54DB91}"/>
              </a:ext>
            </a:extLst>
          </p:cNvPr>
          <p:cNvSpPr/>
          <p:nvPr/>
        </p:nvSpPr>
        <p:spPr>
          <a:xfrm>
            <a:off x="1033113" y="4521341"/>
            <a:ext cx="2638978" cy="1397482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4" name="Rectangle 124">
            <a:extLst>
              <a:ext uri="{FF2B5EF4-FFF2-40B4-BE49-F238E27FC236}">
                <a16:creationId xmlns:a16="http://schemas.microsoft.com/office/drawing/2014/main" id="{D540E193-897D-2F55-29AD-E11B0BDF75DA}"/>
              </a:ext>
            </a:extLst>
          </p:cNvPr>
          <p:cNvSpPr/>
          <p:nvPr/>
        </p:nvSpPr>
        <p:spPr>
          <a:xfrm>
            <a:off x="7954350" y="2908775"/>
            <a:ext cx="1172028" cy="119224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E96BE1A-8CF3-A7A5-663D-BF3B969D6A08}"/>
              </a:ext>
            </a:extLst>
          </p:cNvPr>
          <p:cNvSpPr txBox="1">
            <a:spLocks/>
          </p:cNvSpPr>
          <p:nvPr/>
        </p:nvSpPr>
        <p:spPr>
          <a:xfrm>
            <a:off x="278906" y="295465"/>
            <a:ext cx="11146826" cy="3975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defTabSz="1218183">
              <a:lnSpc>
                <a:spcPts val="3125"/>
              </a:lnSpc>
              <a:spcBef>
                <a:spcPts val="0"/>
              </a:spcBef>
              <a:spcAft>
                <a:spcPts val="0"/>
              </a:spcAft>
              <a:buClr>
                <a:srgbClr val="E75808"/>
              </a:buClr>
              <a:buNone/>
              <a:defRPr sz="2916" b="1">
                <a:gradFill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</a:gradFill>
                <a:latin typeface="+mj-lt"/>
                <a:ea typeface="+mj-ea"/>
              </a:defRPr>
            </a:lvl1pPr>
          </a:lstStyle>
          <a:p>
            <a:r>
              <a:rPr lang="en-AU" sz="2799" dirty="0"/>
              <a:t>Sky Ecosystem</a:t>
            </a:r>
          </a:p>
        </p:txBody>
      </p:sp>
      <p:sp>
        <p:nvSpPr>
          <p:cNvPr id="9" name="Rectangle 124">
            <a:extLst>
              <a:ext uri="{FF2B5EF4-FFF2-40B4-BE49-F238E27FC236}">
                <a16:creationId xmlns:a16="http://schemas.microsoft.com/office/drawing/2014/main" id="{FA2C5F9E-DF99-09A6-1A52-C91DF45C495A}"/>
              </a:ext>
            </a:extLst>
          </p:cNvPr>
          <p:cNvSpPr/>
          <p:nvPr/>
        </p:nvSpPr>
        <p:spPr>
          <a:xfrm>
            <a:off x="1033112" y="2929768"/>
            <a:ext cx="1921435" cy="1171250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2CF2CA0D-6356-08AA-6BE4-3B781CD24B02}"/>
              </a:ext>
            </a:extLst>
          </p:cNvPr>
          <p:cNvSpPr txBox="1">
            <a:spLocks/>
          </p:cNvSpPr>
          <p:nvPr/>
        </p:nvSpPr>
        <p:spPr>
          <a:xfrm>
            <a:off x="175970" y="3295855"/>
            <a:ext cx="760987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CDNs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C7F1F43C-F420-A97D-A7C7-380763B00118}"/>
              </a:ext>
            </a:extLst>
          </p:cNvPr>
          <p:cNvSpPr txBox="1">
            <a:spLocks/>
          </p:cNvSpPr>
          <p:nvPr/>
        </p:nvSpPr>
        <p:spPr>
          <a:xfrm>
            <a:off x="237379" y="5001296"/>
            <a:ext cx="633892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ISPs</a:t>
            </a:r>
          </a:p>
        </p:txBody>
      </p:sp>
      <p:pic>
        <p:nvPicPr>
          <p:cNvPr id="15" name="Immagine 14">
            <a:extLst>
              <a:ext uri="{FF2B5EF4-FFF2-40B4-BE49-F238E27FC236}">
                <a16:creationId xmlns:a16="http://schemas.microsoft.com/office/drawing/2014/main" id="{E13A83EF-D70C-555E-B3F7-033FA6CADC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4869" y="4615040"/>
            <a:ext cx="870291" cy="482852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BAF07865-0B4E-BC9B-1655-8FFE9A2CF8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1218" y="5062305"/>
            <a:ext cx="1152583" cy="304007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B4E6D89F-D702-FA39-DFA4-DD05AB74A6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2129" y="5062305"/>
            <a:ext cx="590242" cy="363226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FF413DBD-C29E-FB7F-C8CE-1BC5E0B37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1092" y="5411715"/>
            <a:ext cx="702614" cy="488434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AB08540C-7DE3-F2BA-5BEA-B0B70CA6BA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36457" y="5352801"/>
            <a:ext cx="501714" cy="501714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6730C1B1-BDD2-1DAA-DA38-281710A578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89641" y="3084468"/>
            <a:ext cx="837628" cy="469072"/>
          </a:xfrm>
          <a:prstGeom prst="rect">
            <a:avLst/>
          </a:prstGeom>
        </p:spPr>
      </p:pic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C147FBCE-96C2-3DF0-018C-A0831F456241}"/>
              </a:ext>
            </a:extLst>
          </p:cNvPr>
          <p:cNvSpPr txBox="1"/>
          <p:nvPr/>
        </p:nvSpPr>
        <p:spPr>
          <a:xfrm>
            <a:off x="3385743" y="4121842"/>
            <a:ext cx="6265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tx1"/>
                </a:solidFill>
                <a:latin typeface="+mj-lt"/>
              </a:rPr>
              <a:t>PNIs </a:t>
            </a:r>
          </a:p>
        </p:txBody>
      </p:sp>
      <p:sp>
        <p:nvSpPr>
          <p:cNvPr id="38" name="Rectangle 124">
            <a:extLst>
              <a:ext uri="{FF2B5EF4-FFF2-40B4-BE49-F238E27FC236}">
                <a16:creationId xmlns:a16="http://schemas.microsoft.com/office/drawing/2014/main" id="{97D54AE2-5DA9-DCAF-E4B6-24315492EDD9}"/>
              </a:ext>
            </a:extLst>
          </p:cNvPr>
          <p:cNvSpPr/>
          <p:nvPr/>
        </p:nvSpPr>
        <p:spPr>
          <a:xfrm>
            <a:off x="1052195" y="1354603"/>
            <a:ext cx="4766817" cy="119224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53975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1ED617A2-1A38-53AD-A912-EA0DB21828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3882" y="1756659"/>
            <a:ext cx="498296" cy="328658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41" name="Rectangle 124">
            <a:extLst>
              <a:ext uri="{FF2B5EF4-FFF2-40B4-BE49-F238E27FC236}">
                <a16:creationId xmlns:a16="http://schemas.microsoft.com/office/drawing/2014/main" id="{5CD6E5F3-0754-E7AB-3CA4-D1B4842150F9}"/>
              </a:ext>
            </a:extLst>
          </p:cNvPr>
          <p:cNvSpPr/>
          <p:nvPr/>
        </p:nvSpPr>
        <p:spPr>
          <a:xfrm>
            <a:off x="4156319" y="4501771"/>
            <a:ext cx="7269412" cy="1378887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5080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pic>
        <p:nvPicPr>
          <p:cNvPr id="42" name="Immagine 41">
            <a:extLst>
              <a:ext uri="{FF2B5EF4-FFF2-40B4-BE49-F238E27FC236}">
                <a16:creationId xmlns:a16="http://schemas.microsoft.com/office/drawing/2014/main" id="{A8061EA4-C346-6ED7-6BC1-96FFFB9A322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57139" y="5070009"/>
            <a:ext cx="1280321" cy="280655"/>
          </a:xfrm>
          <a:prstGeom prst="rect">
            <a:avLst/>
          </a:prstGeom>
        </p:spPr>
      </p:pic>
      <p:sp>
        <p:nvSpPr>
          <p:cNvPr id="46" name="Rectangle 124">
            <a:extLst>
              <a:ext uri="{FF2B5EF4-FFF2-40B4-BE49-F238E27FC236}">
                <a16:creationId xmlns:a16="http://schemas.microsoft.com/office/drawing/2014/main" id="{EF23C559-5079-1B11-41AD-A31A5D1BBE9B}"/>
              </a:ext>
            </a:extLst>
          </p:cNvPr>
          <p:cNvSpPr/>
          <p:nvPr/>
        </p:nvSpPr>
        <p:spPr>
          <a:xfrm>
            <a:off x="6264326" y="1361654"/>
            <a:ext cx="2862875" cy="119224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pic>
        <p:nvPicPr>
          <p:cNvPr id="25" name="Immagine 24">
            <a:extLst>
              <a:ext uri="{FF2B5EF4-FFF2-40B4-BE49-F238E27FC236}">
                <a16:creationId xmlns:a16="http://schemas.microsoft.com/office/drawing/2014/main" id="{8075D0E6-6F52-D2B7-E1A5-C277ABCD2A3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14276" y="1454695"/>
            <a:ext cx="410913" cy="412748"/>
          </a:xfrm>
          <a:prstGeom prst="rect">
            <a:avLst/>
          </a:prstGeom>
        </p:spPr>
      </p:pic>
      <p:pic>
        <p:nvPicPr>
          <p:cNvPr id="26" name="Immagine 25">
            <a:extLst>
              <a:ext uri="{FF2B5EF4-FFF2-40B4-BE49-F238E27FC236}">
                <a16:creationId xmlns:a16="http://schemas.microsoft.com/office/drawing/2014/main" id="{6B5AFC19-C441-45C4-C66C-702C52E21A1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59013" y="1463931"/>
            <a:ext cx="486734" cy="337108"/>
          </a:xfrm>
          <a:prstGeom prst="rect">
            <a:avLst/>
          </a:prstGeom>
        </p:spPr>
      </p:pic>
      <p:pic>
        <p:nvPicPr>
          <p:cNvPr id="27" name="Immagine 26">
            <a:extLst>
              <a:ext uri="{FF2B5EF4-FFF2-40B4-BE49-F238E27FC236}">
                <a16:creationId xmlns:a16="http://schemas.microsoft.com/office/drawing/2014/main" id="{955EB74C-E888-4FDF-60C5-3B3D2E9B7E3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35726" y="1436223"/>
            <a:ext cx="412749" cy="412749"/>
          </a:xfrm>
          <a:prstGeom prst="rect">
            <a:avLst/>
          </a:prstGeom>
        </p:spPr>
      </p:pic>
      <p:pic>
        <p:nvPicPr>
          <p:cNvPr id="28" name="Immagine 27">
            <a:extLst>
              <a:ext uri="{FF2B5EF4-FFF2-40B4-BE49-F238E27FC236}">
                <a16:creationId xmlns:a16="http://schemas.microsoft.com/office/drawing/2014/main" id="{DF0767B4-43A3-3E34-0B63-BC1FA589BA9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60027" y="2031241"/>
            <a:ext cx="377433" cy="377433"/>
          </a:xfrm>
          <a:prstGeom prst="rect">
            <a:avLst/>
          </a:prstGeom>
        </p:spPr>
      </p:pic>
      <p:pic>
        <p:nvPicPr>
          <p:cNvPr id="30" name="Immagine 29">
            <a:extLst>
              <a:ext uri="{FF2B5EF4-FFF2-40B4-BE49-F238E27FC236}">
                <a16:creationId xmlns:a16="http://schemas.microsoft.com/office/drawing/2014/main" id="{6D90174B-314C-4532-CD1E-00B5F590BBC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326194" y="2085011"/>
            <a:ext cx="538759" cy="286872"/>
          </a:xfrm>
          <a:prstGeom prst="rect">
            <a:avLst/>
          </a:prstGeom>
        </p:spPr>
      </p:pic>
      <p:pic>
        <p:nvPicPr>
          <p:cNvPr id="31" name="Immagine 30">
            <a:extLst>
              <a:ext uri="{FF2B5EF4-FFF2-40B4-BE49-F238E27FC236}">
                <a16:creationId xmlns:a16="http://schemas.microsoft.com/office/drawing/2014/main" id="{89F626E0-F268-F856-AF5B-8D2F4FE8749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340555" y="1413068"/>
            <a:ext cx="474888" cy="489929"/>
          </a:xfrm>
          <a:prstGeom prst="rect">
            <a:avLst/>
          </a:prstGeom>
        </p:spPr>
      </p:pic>
      <p:pic>
        <p:nvPicPr>
          <p:cNvPr id="32" name="Immagine 31">
            <a:extLst>
              <a:ext uri="{FF2B5EF4-FFF2-40B4-BE49-F238E27FC236}">
                <a16:creationId xmlns:a16="http://schemas.microsoft.com/office/drawing/2014/main" id="{E349B0AF-DDC5-5D23-FBB0-7C3B5AC61E5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63319" y="2056854"/>
            <a:ext cx="279785" cy="343185"/>
          </a:xfrm>
          <a:prstGeom prst="rect">
            <a:avLst/>
          </a:prstGeom>
        </p:spPr>
      </p:pic>
      <p:pic>
        <p:nvPicPr>
          <p:cNvPr id="51" name="Immagine 50">
            <a:extLst>
              <a:ext uri="{FF2B5EF4-FFF2-40B4-BE49-F238E27FC236}">
                <a16:creationId xmlns:a16="http://schemas.microsoft.com/office/drawing/2014/main" id="{1CDD6C53-6BB7-881F-4055-A912AABF511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998700" y="3560086"/>
            <a:ext cx="859304" cy="378310"/>
          </a:xfrm>
          <a:prstGeom prst="rect">
            <a:avLst/>
          </a:prstGeom>
        </p:spPr>
      </p:pic>
      <p:sp>
        <p:nvSpPr>
          <p:cNvPr id="52" name="Freccia in giù 51">
            <a:extLst>
              <a:ext uri="{FF2B5EF4-FFF2-40B4-BE49-F238E27FC236}">
                <a16:creationId xmlns:a16="http://schemas.microsoft.com/office/drawing/2014/main" id="{A03CD67B-16ED-D64D-5A0F-34FDFE6F90E0}"/>
              </a:ext>
            </a:extLst>
          </p:cNvPr>
          <p:cNvSpPr/>
          <p:nvPr/>
        </p:nvSpPr>
        <p:spPr>
          <a:xfrm>
            <a:off x="6624775" y="2658240"/>
            <a:ext cx="347474" cy="1799550"/>
          </a:xfrm>
          <a:prstGeom prst="downArrow">
            <a:avLst/>
          </a:prstGeom>
          <a:gradFill flip="none" rotWithShape="1">
            <a:gsLst>
              <a:gs pos="38000">
                <a:srgbClr val="D834CF"/>
              </a:gs>
              <a:gs pos="18000">
                <a:srgbClr val="B440E8"/>
              </a:gs>
              <a:gs pos="79000">
                <a:srgbClr val="FD42BC"/>
              </a:gs>
              <a:gs pos="59000">
                <a:srgbClr val="F040C5"/>
              </a:gs>
              <a:gs pos="0">
                <a:srgbClr val="7901F8"/>
              </a:gs>
              <a:gs pos="100000">
                <a:srgbClr val="F8B4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EEF894AB-6F10-3CA5-DE6D-47F80EC682FE}"/>
              </a:ext>
            </a:extLst>
          </p:cNvPr>
          <p:cNvSpPr txBox="1"/>
          <p:nvPr/>
        </p:nvSpPr>
        <p:spPr>
          <a:xfrm>
            <a:off x="6884314" y="3356354"/>
            <a:ext cx="6265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tx1"/>
                </a:solidFill>
                <a:latin typeface="+mj-lt"/>
              </a:rPr>
              <a:t>PNIs </a:t>
            </a:r>
          </a:p>
        </p:txBody>
      </p:sp>
      <p:sp>
        <p:nvSpPr>
          <p:cNvPr id="59" name="Rectangle 124">
            <a:extLst>
              <a:ext uri="{FF2B5EF4-FFF2-40B4-BE49-F238E27FC236}">
                <a16:creationId xmlns:a16="http://schemas.microsoft.com/office/drawing/2014/main" id="{969FF24D-A880-B3B3-B74F-02EE63635D37}"/>
              </a:ext>
            </a:extLst>
          </p:cNvPr>
          <p:cNvSpPr/>
          <p:nvPr/>
        </p:nvSpPr>
        <p:spPr>
          <a:xfrm>
            <a:off x="9286051" y="1395679"/>
            <a:ext cx="2121974" cy="1192243"/>
          </a:xfrm>
          <a:prstGeom prst="roundRect">
            <a:avLst>
              <a:gd name="adj" fmla="val 5288"/>
            </a:avLst>
          </a:prstGeom>
          <a:solidFill>
            <a:schemeClr val="bg1"/>
          </a:solidFill>
          <a:ln w="6350">
            <a:gradFill>
              <a:gsLst>
                <a:gs pos="0">
                  <a:srgbClr val="A803A3"/>
                </a:gs>
                <a:gs pos="100000">
                  <a:srgbClr val="7400F9"/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AU" sz="1400" dirty="0">
              <a:solidFill>
                <a:srgbClr val="333333"/>
              </a:solidFill>
              <a:latin typeface="Sky Text"/>
            </a:endParaRPr>
          </a:p>
        </p:txBody>
      </p:sp>
      <p:sp>
        <p:nvSpPr>
          <p:cNvPr id="61" name="Title 2">
            <a:extLst>
              <a:ext uri="{FF2B5EF4-FFF2-40B4-BE49-F238E27FC236}">
                <a16:creationId xmlns:a16="http://schemas.microsoft.com/office/drawing/2014/main" id="{57023380-398E-A4A1-B7C9-B565B65F6142}"/>
              </a:ext>
            </a:extLst>
          </p:cNvPr>
          <p:cNvSpPr txBox="1">
            <a:spLocks/>
          </p:cNvSpPr>
          <p:nvPr/>
        </p:nvSpPr>
        <p:spPr>
          <a:xfrm>
            <a:off x="9959517" y="1232712"/>
            <a:ext cx="868218" cy="41808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TIER 1</a:t>
            </a:r>
          </a:p>
        </p:txBody>
      </p:sp>
      <p:sp>
        <p:nvSpPr>
          <p:cNvPr id="69" name="CasellaDiTesto 68">
            <a:extLst>
              <a:ext uri="{FF2B5EF4-FFF2-40B4-BE49-F238E27FC236}">
                <a16:creationId xmlns:a16="http://schemas.microsoft.com/office/drawing/2014/main" id="{561609C4-EBAA-92A9-5210-1A44E145FCEC}"/>
              </a:ext>
            </a:extLst>
          </p:cNvPr>
          <p:cNvSpPr txBox="1"/>
          <p:nvPr/>
        </p:nvSpPr>
        <p:spPr>
          <a:xfrm>
            <a:off x="9837791" y="1818737"/>
            <a:ext cx="10356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tx1"/>
                </a:solidFill>
                <a:latin typeface="+mj-lt"/>
              </a:rPr>
              <a:t>TRANSIT PROVIDERS</a:t>
            </a:r>
          </a:p>
        </p:txBody>
      </p:sp>
      <p:pic>
        <p:nvPicPr>
          <p:cNvPr id="72" name="Immagine 71">
            <a:extLst>
              <a:ext uri="{FF2B5EF4-FFF2-40B4-BE49-F238E27FC236}">
                <a16:creationId xmlns:a16="http://schemas.microsoft.com/office/drawing/2014/main" id="{DB901E23-B7DD-91EB-6513-41C316E897B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509363" y="4776397"/>
            <a:ext cx="500904" cy="131817"/>
          </a:xfrm>
          <a:prstGeom prst="rect">
            <a:avLst/>
          </a:prstGeom>
        </p:spPr>
      </p:pic>
      <p:sp>
        <p:nvSpPr>
          <p:cNvPr id="73" name="Rettangolo con angoli arrotondati 72">
            <a:extLst>
              <a:ext uri="{FF2B5EF4-FFF2-40B4-BE49-F238E27FC236}">
                <a16:creationId xmlns:a16="http://schemas.microsoft.com/office/drawing/2014/main" id="{7183D84D-8AE6-AA3C-E894-6F18927678E7}"/>
              </a:ext>
            </a:extLst>
          </p:cNvPr>
          <p:cNvSpPr/>
          <p:nvPr/>
        </p:nvSpPr>
        <p:spPr>
          <a:xfrm>
            <a:off x="1033113" y="858981"/>
            <a:ext cx="10374912" cy="275769"/>
          </a:xfrm>
          <a:prstGeom prst="roundRect">
            <a:avLst/>
          </a:prstGeom>
          <a:gradFill flip="none" rotWithShape="1">
            <a:gsLst>
              <a:gs pos="38000">
                <a:srgbClr val="7901F8"/>
              </a:gs>
              <a:gs pos="100000">
                <a:srgbClr val="F8B4E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3"/>
            <a:r>
              <a:rPr lang="it-IT" sz="1800" dirty="0">
                <a:latin typeface="+mj-lt"/>
              </a:rPr>
              <a:t>                 VIDEO SERVICES			      INTERNET SERVICES</a:t>
            </a:r>
          </a:p>
        </p:txBody>
      </p:sp>
      <p:sp>
        <p:nvSpPr>
          <p:cNvPr id="77" name="Freccia in giù 76">
            <a:extLst>
              <a:ext uri="{FF2B5EF4-FFF2-40B4-BE49-F238E27FC236}">
                <a16:creationId xmlns:a16="http://schemas.microsoft.com/office/drawing/2014/main" id="{48A8B303-39B1-3916-C969-6B86D5B34162}"/>
              </a:ext>
            </a:extLst>
          </p:cNvPr>
          <p:cNvSpPr/>
          <p:nvPr/>
        </p:nvSpPr>
        <p:spPr>
          <a:xfrm>
            <a:off x="1820693" y="2381075"/>
            <a:ext cx="323740" cy="557874"/>
          </a:xfrm>
          <a:prstGeom prst="downArrow">
            <a:avLst/>
          </a:prstGeom>
          <a:gradFill flip="none" rotWithShape="1">
            <a:gsLst>
              <a:gs pos="38000">
                <a:srgbClr val="D834CF"/>
              </a:gs>
              <a:gs pos="18000">
                <a:srgbClr val="B440E8"/>
              </a:gs>
              <a:gs pos="79000">
                <a:srgbClr val="FD42BC"/>
              </a:gs>
              <a:gs pos="59000">
                <a:srgbClr val="F040C5"/>
              </a:gs>
              <a:gs pos="0">
                <a:srgbClr val="7901F8"/>
              </a:gs>
              <a:gs pos="100000">
                <a:srgbClr val="F8B4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80C64C27-740A-FC3C-6722-6CF94DC20FB4}"/>
              </a:ext>
            </a:extLst>
          </p:cNvPr>
          <p:cNvSpPr txBox="1">
            <a:spLocks/>
          </p:cNvSpPr>
          <p:nvPr/>
        </p:nvSpPr>
        <p:spPr>
          <a:xfrm>
            <a:off x="161560" y="1703184"/>
            <a:ext cx="760988" cy="418082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ctr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lang="en-GB" sz="2916" kern="1200" dirty="0">
                <a:gradFill flip="none" rotWithShape="1">
                  <a:gsLst>
                    <a:gs pos="0">
                      <a:srgbClr val="FF9E00"/>
                    </a:gs>
                    <a:gs pos="100000">
                      <a:srgbClr val="0071FF"/>
                    </a:gs>
                    <a:gs pos="35000">
                      <a:srgbClr val="E10000"/>
                    </a:gs>
                    <a:gs pos="85000">
                      <a:srgbClr val="21429C"/>
                    </a:gs>
                    <a:gs pos="60000">
                      <a:srgbClr val="B5007D"/>
                    </a:gs>
                  </a:gsLst>
                  <a:lin ang="0" scaled="1"/>
                  <a:tileRect/>
                </a:gradFill>
                <a:latin typeface="+mn-lt"/>
                <a:ea typeface="+mj-ea"/>
                <a:cs typeface="Sky Text Light"/>
              </a:defRPr>
            </a:lvl1pPr>
            <a:lvl2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2pPr>
            <a:lvl3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3pPr>
            <a:lvl4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4pPr>
            <a:lvl5pPr algn="l" defTabSz="1218660" rtl="0" eaLnBrk="0" fontAlgn="base" hangingPunct="0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5pPr>
            <a:lvl6pPr marL="476220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6pPr>
            <a:lvl7pPr marL="95243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7pPr>
            <a:lvl8pPr marL="1428659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8pPr>
            <a:lvl9pPr marL="1904878" algn="l" defTabSz="1218660" rtl="0" fontAlgn="base">
              <a:lnSpc>
                <a:spcPct val="80000"/>
              </a:lnSpc>
              <a:spcBef>
                <a:spcPts val="795"/>
              </a:spcBef>
              <a:spcAft>
                <a:spcPct val="0"/>
              </a:spcAft>
              <a:defRPr sz="2916">
                <a:solidFill>
                  <a:schemeClr val="tx1"/>
                </a:solidFill>
                <a:latin typeface="Sky Text Medium" panose="020B0506040202020204" pitchFamily="34" charset="0"/>
                <a:cs typeface="Sky Text Light" panose="020B0306040202020204" pitchFamily="34" charset="0"/>
              </a:defRPr>
            </a:lvl9pPr>
          </a:lstStyle>
          <a:p>
            <a:pPr defTabSz="1169914">
              <a:spcBef>
                <a:spcPts val="763"/>
              </a:spcBef>
              <a:defRPr/>
            </a:pPr>
            <a:r>
              <a:rPr lang="en-US" sz="1920" b="1" dirty="0">
                <a:latin typeface="Sky Text"/>
              </a:rPr>
              <a:t>OTTs</a:t>
            </a:r>
          </a:p>
        </p:txBody>
      </p:sp>
      <p:sp>
        <p:nvSpPr>
          <p:cNvPr id="81" name="CasellaDiTesto 80">
            <a:extLst>
              <a:ext uri="{FF2B5EF4-FFF2-40B4-BE49-F238E27FC236}">
                <a16:creationId xmlns:a16="http://schemas.microsoft.com/office/drawing/2014/main" id="{9A028F9E-AB66-3FEF-E4A6-9B992B3D19D5}"/>
              </a:ext>
            </a:extLst>
          </p:cNvPr>
          <p:cNvSpPr txBox="1"/>
          <p:nvPr/>
        </p:nvSpPr>
        <p:spPr>
          <a:xfrm>
            <a:off x="8163739" y="3271716"/>
            <a:ext cx="7905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tx1"/>
                </a:solidFill>
                <a:latin typeface="+mj-lt"/>
              </a:rPr>
              <a:t>Cache 3</a:t>
            </a:r>
            <a:r>
              <a:rPr lang="en-US" sz="1100" b="1" baseline="30000" dirty="0">
                <a:solidFill>
                  <a:schemeClr val="tx1"/>
                </a:solidFill>
                <a:latin typeface="+mj-lt"/>
              </a:rPr>
              <a:t>rd</a:t>
            </a:r>
            <a:r>
              <a:rPr lang="en-US" sz="1100" b="1" dirty="0">
                <a:solidFill>
                  <a:schemeClr val="tx1"/>
                </a:solidFill>
                <a:latin typeface="+mj-lt"/>
              </a:rPr>
              <a:t> Party </a:t>
            </a:r>
          </a:p>
        </p:txBody>
      </p:sp>
      <p:pic>
        <p:nvPicPr>
          <p:cNvPr id="82" name="Immagine 81">
            <a:extLst>
              <a:ext uri="{FF2B5EF4-FFF2-40B4-BE49-F238E27FC236}">
                <a16:creationId xmlns:a16="http://schemas.microsoft.com/office/drawing/2014/main" id="{1C134049-93C4-C204-AB86-9AE6BB554633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133468" y="2058565"/>
            <a:ext cx="377433" cy="377433"/>
          </a:xfrm>
          <a:prstGeom prst="rect">
            <a:avLst/>
          </a:prstGeom>
        </p:spPr>
      </p:pic>
      <p:sp>
        <p:nvSpPr>
          <p:cNvPr id="84" name="CasellaDiTesto 83">
            <a:extLst>
              <a:ext uri="{FF2B5EF4-FFF2-40B4-BE49-F238E27FC236}">
                <a16:creationId xmlns:a16="http://schemas.microsoft.com/office/drawing/2014/main" id="{5B54723C-E7DA-0BB5-A7F8-B3508F3EB34C}"/>
              </a:ext>
            </a:extLst>
          </p:cNvPr>
          <p:cNvSpPr txBox="1"/>
          <p:nvPr/>
        </p:nvSpPr>
        <p:spPr>
          <a:xfrm>
            <a:off x="3776787" y="6079293"/>
            <a:ext cx="4402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</a:rPr>
              <a:t>Inbound / Outbound traffic ratio: 55% / 45 % </a:t>
            </a:r>
          </a:p>
        </p:txBody>
      </p:sp>
      <p:pic>
        <p:nvPicPr>
          <p:cNvPr id="86" name="Immagine 85">
            <a:extLst>
              <a:ext uri="{FF2B5EF4-FFF2-40B4-BE49-F238E27FC236}">
                <a16:creationId xmlns:a16="http://schemas.microsoft.com/office/drawing/2014/main" id="{201BD33E-2D0C-9CEE-C597-04A08AB6A7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318" y="3291377"/>
            <a:ext cx="837628" cy="469072"/>
          </a:xfrm>
          <a:prstGeom prst="rect">
            <a:avLst/>
          </a:prstGeom>
        </p:spPr>
      </p:pic>
      <p:pic>
        <p:nvPicPr>
          <p:cNvPr id="87" name="Immagine 86">
            <a:extLst>
              <a:ext uri="{FF2B5EF4-FFF2-40B4-BE49-F238E27FC236}">
                <a16:creationId xmlns:a16="http://schemas.microsoft.com/office/drawing/2014/main" id="{09BDE326-EDEC-0FF5-F019-442DFA4205C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611511" y="3291377"/>
            <a:ext cx="859304" cy="378310"/>
          </a:xfrm>
          <a:prstGeom prst="rect">
            <a:avLst/>
          </a:prstGeom>
        </p:spPr>
      </p:pic>
      <p:pic>
        <p:nvPicPr>
          <p:cNvPr id="92" name="Immagine 91">
            <a:extLst>
              <a:ext uri="{FF2B5EF4-FFF2-40B4-BE49-F238E27FC236}">
                <a16:creationId xmlns:a16="http://schemas.microsoft.com/office/drawing/2014/main" id="{951BD497-CFB5-3FB3-7C64-EF9378A5879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22692" y="3131440"/>
            <a:ext cx="633891" cy="398702"/>
          </a:xfrm>
          <a:prstGeom prst="rect">
            <a:avLst/>
          </a:prstGeom>
        </p:spPr>
      </p:pic>
      <p:sp>
        <p:nvSpPr>
          <p:cNvPr id="93" name="CasellaDiTesto 92">
            <a:extLst>
              <a:ext uri="{FF2B5EF4-FFF2-40B4-BE49-F238E27FC236}">
                <a16:creationId xmlns:a16="http://schemas.microsoft.com/office/drawing/2014/main" id="{5260E664-2E04-8CEA-57F3-065E0DA94A14}"/>
              </a:ext>
            </a:extLst>
          </p:cNvPr>
          <p:cNvSpPr txBox="1"/>
          <p:nvPr/>
        </p:nvSpPr>
        <p:spPr>
          <a:xfrm>
            <a:off x="3758066" y="2903422"/>
            <a:ext cx="1237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</a:rPr>
              <a:t>Private CDNs</a:t>
            </a:r>
          </a:p>
        </p:txBody>
      </p:sp>
      <p:sp>
        <p:nvSpPr>
          <p:cNvPr id="94" name="CasellaDiTesto 93">
            <a:extLst>
              <a:ext uri="{FF2B5EF4-FFF2-40B4-BE49-F238E27FC236}">
                <a16:creationId xmlns:a16="http://schemas.microsoft.com/office/drawing/2014/main" id="{D4C15932-45E5-110D-0E13-5EC991F11584}"/>
              </a:ext>
            </a:extLst>
          </p:cNvPr>
          <p:cNvSpPr txBox="1"/>
          <p:nvPr/>
        </p:nvSpPr>
        <p:spPr>
          <a:xfrm>
            <a:off x="1436457" y="2902856"/>
            <a:ext cx="1237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1"/>
                </a:solidFill>
                <a:latin typeface="+mj-lt"/>
              </a:rPr>
              <a:t>Global CDNs</a:t>
            </a:r>
          </a:p>
        </p:txBody>
      </p:sp>
      <p:pic>
        <p:nvPicPr>
          <p:cNvPr id="95" name="Immagine 94">
            <a:extLst>
              <a:ext uri="{FF2B5EF4-FFF2-40B4-BE49-F238E27FC236}">
                <a16:creationId xmlns:a16="http://schemas.microsoft.com/office/drawing/2014/main" id="{E8CE23D9-F00F-FDB3-171E-447115B4158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187806" y="3740121"/>
            <a:ext cx="503665" cy="207816"/>
          </a:xfrm>
          <a:prstGeom prst="rect">
            <a:avLst/>
          </a:prstGeom>
        </p:spPr>
      </p:pic>
      <p:sp>
        <p:nvSpPr>
          <p:cNvPr id="96" name="Freccia bidirezionale verticale 95">
            <a:extLst>
              <a:ext uri="{FF2B5EF4-FFF2-40B4-BE49-F238E27FC236}">
                <a16:creationId xmlns:a16="http://schemas.microsoft.com/office/drawing/2014/main" id="{E0628CB3-39E3-6CE8-097F-8A2F5542F756}"/>
              </a:ext>
            </a:extLst>
          </p:cNvPr>
          <p:cNvSpPr/>
          <p:nvPr/>
        </p:nvSpPr>
        <p:spPr>
          <a:xfrm>
            <a:off x="10208583" y="2658240"/>
            <a:ext cx="345348" cy="1783518"/>
          </a:xfrm>
          <a:prstGeom prst="upDownArrow">
            <a:avLst/>
          </a:prstGeom>
          <a:gradFill flip="none" rotWithShape="1">
            <a:gsLst>
              <a:gs pos="38000">
                <a:srgbClr val="D834CF"/>
              </a:gs>
              <a:gs pos="18000">
                <a:srgbClr val="B440E8"/>
              </a:gs>
              <a:gs pos="79000">
                <a:srgbClr val="FD42BC"/>
              </a:gs>
              <a:gs pos="59000">
                <a:srgbClr val="F040C5"/>
              </a:gs>
              <a:gs pos="0">
                <a:srgbClr val="7901F8"/>
              </a:gs>
              <a:gs pos="100000">
                <a:srgbClr val="F8B4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7" name="Freccia in giù 96">
            <a:extLst>
              <a:ext uri="{FF2B5EF4-FFF2-40B4-BE49-F238E27FC236}">
                <a16:creationId xmlns:a16="http://schemas.microsoft.com/office/drawing/2014/main" id="{45E9163E-0763-78B9-65CB-0D815AF02908}"/>
              </a:ext>
            </a:extLst>
          </p:cNvPr>
          <p:cNvSpPr/>
          <p:nvPr/>
        </p:nvSpPr>
        <p:spPr>
          <a:xfrm>
            <a:off x="4169531" y="2371883"/>
            <a:ext cx="323740" cy="557874"/>
          </a:xfrm>
          <a:prstGeom prst="downArrow">
            <a:avLst/>
          </a:prstGeom>
          <a:gradFill flip="none" rotWithShape="1">
            <a:gsLst>
              <a:gs pos="38000">
                <a:srgbClr val="D834CF"/>
              </a:gs>
              <a:gs pos="18000">
                <a:srgbClr val="B440E8"/>
              </a:gs>
              <a:gs pos="79000">
                <a:srgbClr val="FD42BC"/>
              </a:gs>
              <a:gs pos="59000">
                <a:srgbClr val="F040C5"/>
              </a:gs>
              <a:gs pos="0">
                <a:srgbClr val="7901F8"/>
              </a:gs>
              <a:gs pos="100000">
                <a:srgbClr val="F8B4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8" name="Freccia in giù 97">
            <a:extLst>
              <a:ext uri="{FF2B5EF4-FFF2-40B4-BE49-F238E27FC236}">
                <a16:creationId xmlns:a16="http://schemas.microsoft.com/office/drawing/2014/main" id="{7F626B5C-D11C-4EC8-F450-34C9D25C6274}"/>
              </a:ext>
            </a:extLst>
          </p:cNvPr>
          <p:cNvSpPr/>
          <p:nvPr/>
        </p:nvSpPr>
        <p:spPr>
          <a:xfrm>
            <a:off x="4826694" y="3899916"/>
            <a:ext cx="323740" cy="557874"/>
          </a:xfrm>
          <a:prstGeom prst="downArrow">
            <a:avLst/>
          </a:prstGeom>
          <a:gradFill flip="none" rotWithShape="1">
            <a:gsLst>
              <a:gs pos="38000">
                <a:srgbClr val="D834CF"/>
              </a:gs>
              <a:gs pos="18000">
                <a:srgbClr val="B440E8"/>
              </a:gs>
              <a:gs pos="79000">
                <a:srgbClr val="FD42BC"/>
              </a:gs>
              <a:gs pos="59000">
                <a:srgbClr val="F040C5"/>
              </a:gs>
              <a:gs pos="0">
                <a:srgbClr val="7901F8"/>
              </a:gs>
              <a:gs pos="100000">
                <a:srgbClr val="F8B4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9" name="Freccia in giù 98">
            <a:extLst>
              <a:ext uri="{FF2B5EF4-FFF2-40B4-BE49-F238E27FC236}">
                <a16:creationId xmlns:a16="http://schemas.microsoft.com/office/drawing/2014/main" id="{1FDFCD90-A638-21B6-7DF1-1C276D46BB06}"/>
              </a:ext>
            </a:extLst>
          </p:cNvPr>
          <p:cNvSpPr/>
          <p:nvPr/>
        </p:nvSpPr>
        <p:spPr>
          <a:xfrm>
            <a:off x="3161901" y="3947937"/>
            <a:ext cx="323740" cy="557874"/>
          </a:xfrm>
          <a:prstGeom prst="downArrow">
            <a:avLst/>
          </a:prstGeom>
          <a:gradFill flip="none" rotWithShape="1">
            <a:gsLst>
              <a:gs pos="38000">
                <a:srgbClr val="D834CF"/>
              </a:gs>
              <a:gs pos="18000">
                <a:srgbClr val="B440E8"/>
              </a:gs>
              <a:gs pos="79000">
                <a:srgbClr val="FD42BC"/>
              </a:gs>
              <a:gs pos="59000">
                <a:srgbClr val="F040C5"/>
              </a:gs>
              <a:gs pos="0">
                <a:srgbClr val="7901F8"/>
              </a:gs>
              <a:gs pos="100000">
                <a:srgbClr val="F8B4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0" name="Freccia in giù 99">
            <a:extLst>
              <a:ext uri="{FF2B5EF4-FFF2-40B4-BE49-F238E27FC236}">
                <a16:creationId xmlns:a16="http://schemas.microsoft.com/office/drawing/2014/main" id="{3F848D8D-5C7C-62B9-8DC2-C416E5D139AF}"/>
              </a:ext>
            </a:extLst>
          </p:cNvPr>
          <p:cNvSpPr/>
          <p:nvPr/>
        </p:nvSpPr>
        <p:spPr>
          <a:xfrm>
            <a:off x="1719049" y="3946132"/>
            <a:ext cx="323740" cy="557874"/>
          </a:xfrm>
          <a:prstGeom prst="downArrow">
            <a:avLst/>
          </a:prstGeom>
          <a:gradFill flip="none" rotWithShape="1">
            <a:gsLst>
              <a:gs pos="38000">
                <a:srgbClr val="D834CF"/>
              </a:gs>
              <a:gs pos="18000">
                <a:srgbClr val="B440E8"/>
              </a:gs>
              <a:gs pos="79000">
                <a:srgbClr val="FD42BC"/>
              </a:gs>
              <a:gs pos="59000">
                <a:srgbClr val="F040C5"/>
              </a:gs>
              <a:gs pos="0">
                <a:srgbClr val="7901F8"/>
              </a:gs>
              <a:gs pos="100000">
                <a:srgbClr val="F8B4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1" name="Freccia in giù 100">
            <a:extLst>
              <a:ext uri="{FF2B5EF4-FFF2-40B4-BE49-F238E27FC236}">
                <a16:creationId xmlns:a16="http://schemas.microsoft.com/office/drawing/2014/main" id="{284E99C2-13D2-DCDE-3126-82583574FD10}"/>
              </a:ext>
            </a:extLst>
          </p:cNvPr>
          <p:cNvSpPr/>
          <p:nvPr/>
        </p:nvSpPr>
        <p:spPr>
          <a:xfrm>
            <a:off x="8339579" y="3899916"/>
            <a:ext cx="323740" cy="557874"/>
          </a:xfrm>
          <a:prstGeom prst="downArrow">
            <a:avLst/>
          </a:prstGeom>
          <a:gradFill flip="none" rotWithShape="1">
            <a:gsLst>
              <a:gs pos="38000">
                <a:srgbClr val="D834CF"/>
              </a:gs>
              <a:gs pos="18000">
                <a:srgbClr val="B440E8"/>
              </a:gs>
              <a:gs pos="79000">
                <a:srgbClr val="FD42BC"/>
              </a:gs>
              <a:gs pos="59000">
                <a:srgbClr val="F040C5"/>
              </a:gs>
              <a:gs pos="0">
                <a:srgbClr val="7901F8"/>
              </a:gs>
              <a:gs pos="100000">
                <a:srgbClr val="F8B4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2" name="Freccia in giù 101">
            <a:extLst>
              <a:ext uri="{FF2B5EF4-FFF2-40B4-BE49-F238E27FC236}">
                <a16:creationId xmlns:a16="http://schemas.microsoft.com/office/drawing/2014/main" id="{AF81F3D3-4F9B-5889-4240-4B6B0F6E5C6E}"/>
              </a:ext>
            </a:extLst>
          </p:cNvPr>
          <p:cNvSpPr/>
          <p:nvPr/>
        </p:nvSpPr>
        <p:spPr>
          <a:xfrm>
            <a:off x="8339579" y="2318941"/>
            <a:ext cx="323740" cy="557874"/>
          </a:xfrm>
          <a:prstGeom prst="downArrow">
            <a:avLst/>
          </a:prstGeom>
          <a:gradFill flip="none" rotWithShape="1">
            <a:gsLst>
              <a:gs pos="38000">
                <a:srgbClr val="D834CF"/>
              </a:gs>
              <a:gs pos="18000">
                <a:srgbClr val="B440E8"/>
              </a:gs>
              <a:gs pos="79000">
                <a:srgbClr val="FD42BC"/>
              </a:gs>
              <a:gs pos="59000">
                <a:srgbClr val="F040C5"/>
              </a:gs>
              <a:gs pos="0">
                <a:srgbClr val="7901F8"/>
              </a:gs>
              <a:gs pos="100000">
                <a:srgbClr val="F8B4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24DAB399-3824-CED2-DF99-7041FDCB28A4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858004" y="5452526"/>
            <a:ext cx="464264" cy="464264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8687034F-A6B7-6B3A-5A11-11F728C94046}"/>
              </a:ext>
            </a:extLst>
          </p:cNvPr>
          <p:cNvSpPr txBox="1"/>
          <p:nvPr/>
        </p:nvSpPr>
        <p:spPr>
          <a:xfrm>
            <a:off x="10499551" y="3356354"/>
            <a:ext cx="6809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chemeClr val="tx1"/>
                </a:solidFill>
                <a:latin typeface="+mj-lt"/>
              </a:rPr>
              <a:t>Transit</a:t>
            </a:r>
          </a:p>
        </p:txBody>
      </p:sp>
    </p:spTree>
    <p:extLst>
      <p:ext uri="{BB962C8B-B14F-4D97-AF65-F5344CB8AC3E}">
        <p14:creationId xmlns:p14="http://schemas.microsoft.com/office/powerpoint/2010/main" val="210248225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Kvxkv8cK6d5EYv8UfT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Kvxkv8cK6d5EYv8UfT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y Template" id="{EF5E80A7-E0A0-4AC0-8F24-05E1254C525E}" vid="{AD97B92D-F238-48E0-BB4C-6300DD71F1FA}"/>
    </a:ext>
  </a:extLst>
</a:theme>
</file>

<file path=ppt/theme/theme2.xml><?xml version="1.0" encoding="utf-8"?>
<a:theme xmlns:a="http://schemas.openxmlformats.org/drawingml/2006/main" name="1_Personalizza struttur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alizzato 2">
      <a:majorFont>
        <a:latin typeface="Sky Tex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ky - Template">
  <a:themeElements>
    <a:clrScheme name="Sky Colours">
      <a:dk1>
        <a:srgbClr val="333333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3333AD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y Template" id="{EF5E80A7-E0A0-4AC0-8F24-05E1254C525E}" vid="{AD97B92D-F238-48E0-BB4C-6300DD71F1FA}"/>
    </a:ext>
  </a:extLst>
</a:theme>
</file>

<file path=ppt/theme/theme4.xml><?xml version="1.0" encoding="utf-8"?>
<a:theme xmlns:a="http://schemas.openxmlformats.org/drawingml/2006/main" name="Titles">
  <a:themeElements>
    <a:clrScheme name="Custom 2">
      <a:dk1>
        <a:srgbClr val="000000"/>
      </a:dk1>
      <a:lt1>
        <a:srgbClr val="FFFFFF"/>
      </a:lt1>
      <a:dk2>
        <a:srgbClr val="595959"/>
      </a:dk2>
      <a:lt2>
        <a:srgbClr val="ECECEC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767676"/>
      </a:hlink>
      <a:folHlink>
        <a:srgbClr val="A9A9A9"/>
      </a:folHlink>
    </a:clrScheme>
    <a:fontScheme name="Custom 1">
      <a:majorFont>
        <a:latin typeface="Graphik Blac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4572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NEW_Template16x9_170816.pptx" id="{2E6E3374-4F95-40AD-B0D6-E4ACAD4AD75A}" vid="{5CC840C9-9C87-4D87-AED8-1EEA6A264900}"/>
    </a:ext>
  </a:extLst>
</a:theme>
</file>

<file path=ppt/theme/theme5.xml><?xml version="1.0" encoding="utf-8"?>
<a:theme xmlns:a="http://schemas.openxmlformats.org/drawingml/2006/main" name="2_Personalizza struttur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alizzato 2">
      <a:majorFont>
        <a:latin typeface="Sky Tex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ff900ba9-9f3b-4304-91a4-f6bdeb204e8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4D567B8562CD4883360B199BE54190" ma:contentTypeVersion="18" ma:contentTypeDescription="Create a new document." ma:contentTypeScope="" ma:versionID="49ac536b781fb27818f44deb284c5ff1">
  <xsd:schema xmlns:xsd="http://www.w3.org/2001/XMLSchema" xmlns:xs="http://www.w3.org/2001/XMLSchema" xmlns:p="http://schemas.microsoft.com/office/2006/metadata/properties" xmlns:ns3="ff900ba9-9f3b-4304-91a4-f6bdeb204e87" xmlns:ns4="9027abb7-97a3-4d25-ac53-3f719c2d6fdd" targetNamespace="http://schemas.microsoft.com/office/2006/metadata/properties" ma:root="true" ma:fieldsID="6ce9ae4cd192c8563d050868227be4c6" ns3:_="" ns4:_="">
    <xsd:import namespace="ff900ba9-9f3b-4304-91a4-f6bdeb204e87"/>
    <xsd:import namespace="9027abb7-97a3-4d25-ac53-3f719c2d6fd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900ba9-9f3b-4304-91a4-f6bdeb204e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27abb7-97a3-4d25-ac53-3f719c2d6fd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E13110-ADC2-4A3C-B580-ADD083DF63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83C4412-3B86-42B0-9D51-41359F5662DB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ff900ba9-9f3b-4304-91a4-f6bdeb204e87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infopath/2007/PartnerControls"/>
    <ds:schemaRef ds:uri="9027abb7-97a3-4d25-ac53-3f719c2d6fdd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F898BAC-1D20-4C1B-9453-3EF5E46F0F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900ba9-9f3b-4304-91a4-f6bdeb204e87"/>
    <ds:schemaRef ds:uri="9027abb7-97a3-4d25-ac53-3f719c2d6f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Sky Template</Template>
  <TotalTime>139833</TotalTime>
  <Words>1441</Words>
  <Application>Microsoft Office PowerPoint</Application>
  <PresentationFormat>Personalizzato</PresentationFormat>
  <Paragraphs>342</Paragraphs>
  <Slides>20</Slides>
  <Notes>2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0</vt:i4>
      </vt:variant>
    </vt:vector>
  </HeadingPairs>
  <TitlesOfParts>
    <vt:vector size="33" baseType="lpstr">
      <vt:lpstr>Arial</vt:lpstr>
      <vt:lpstr>Calibri</vt:lpstr>
      <vt:lpstr>Graphik</vt:lpstr>
      <vt:lpstr>Graphik Black</vt:lpstr>
      <vt:lpstr>Lucida Grande</vt:lpstr>
      <vt:lpstr>Sky Text</vt:lpstr>
      <vt:lpstr>Sky Text Medium</vt:lpstr>
      <vt:lpstr>Sky - Template</vt:lpstr>
      <vt:lpstr>1_Personalizza struttura</vt:lpstr>
      <vt:lpstr>1_Sky - Template</vt:lpstr>
      <vt:lpstr>Titles</vt:lpstr>
      <vt:lpstr>2_Personalizza struttura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British Sky Broadcasting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ky template</dc:title>
  <dc:creator>"Carturan Simone"</dc:creator>
  <cp:lastModifiedBy>CARTURAN Simone</cp:lastModifiedBy>
  <cp:revision>75</cp:revision>
  <cp:lastPrinted>2018-10-03T08:36:46Z</cp:lastPrinted>
  <dcterms:created xsi:type="dcterms:W3CDTF">2018-12-05T16:42:49Z</dcterms:created>
  <dcterms:modified xsi:type="dcterms:W3CDTF">2024-06-07T07:0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KYTipoBrand">
    <vt:lpwstr>99;#Template|79aeb1dd-fd7a-4243-b584-9a527e6e273e</vt:lpwstr>
  </property>
  <property fmtid="{D5CDD505-2E9C-101B-9397-08002B2CF9AE}" pid="3" name="ContentTypeId">
    <vt:lpwstr>0x0101001D4D567B8562CD4883360B199BE54190</vt:lpwstr>
  </property>
</Properties>
</file>